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2" r:id="rId1"/>
  </p:sldMasterIdLst>
  <p:notesMasterIdLst>
    <p:notesMasterId r:id="rId37"/>
  </p:notesMasterIdLst>
  <p:sldIdLst>
    <p:sldId id="256" r:id="rId2"/>
    <p:sldId id="280" r:id="rId3"/>
    <p:sldId id="281" r:id="rId4"/>
    <p:sldId id="282" r:id="rId5"/>
    <p:sldId id="283" r:id="rId6"/>
    <p:sldId id="284" r:id="rId7"/>
    <p:sldId id="285" r:id="rId8"/>
    <p:sldId id="286" r:id="rId9"/>
    <p:sldId id="287" r:id="rId10"/>
    <p:sldId id="288" r:id="rId11"/>
    <p:sldId id="289" r:id="rId12"/>
    <p:sldId id="290" r:id="rId13"/>
    <p:sldId id="291" r:id="rId14"/>
    <p:sldId id="292" r:id="rId15"/>
    <p:sldId id="293" r:id="rId16"/>
    <p:sldId id="294" r:id="rId17"/>
    <p:sldId id="295" r:id="rId18"/>
    <p:sldId id="296" r:id="rId19"/>
    <p:sldId id="297" r:id="rId20"/>
    <p:sldId id="298" r:id="rId21"/>
    <p:sldId id="299" r:id="rId22"/>
    <p:sldId id="300" r:id="rId23"/>
    <p:sldId id="301" r:id="rId24"/>
    <p:sldId id="302" r:id="rId25"/>
    <p:sldId id="303" r:id="rId26"/>
    <p:sldId id="304" r:id="rId27"/>
    <p:sldId id="305" r:id="rId28"/>
    <p:sldId id="306" r:id="rId29"/>
    <p:sldId id="307" r:id="rId30"/>
    <p:sldId id="308" r:id="rId31"/>
    <p:sldId id="309" r:id="rId32"/>
    <p:sldId id="310" r:id="rId33"/>
    <p:sldId id="311" r:id="rId34"/>
    <p:sldId id="312" r:id="rId35"/>
    <p:sldId id="313" r:id="rId3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rah K" initials="SK"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96633"/>
    <a:srgbClr val="FFFFB3"/>
    <a:srgbClr val="ECD9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50" d="100"/>
          <a:sy n="50" d="100"/>
        </p:scale>
        <p:origin x="1267" y="34"/>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E17C552-CF4B-46FA-A0A6-CD22A870E475}" type="datetimeFigureOut">
              <a:rPr lang="en-US" smtClean="0"/>
              <a:pPr/>
              <a:t>11/22/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2FF1923-936C-4DB1-A3DF-3AE596C99154}" type="slidenum">
              <a:rPr lang="en-US" smtClean="0"/>
              <a:pPr/>
              <a:t>‹#›</a:t>
            </a:fld>
            <a:endParaRPr lang="en-US"/>
          </a:p>
        </p:txBody>
      </p:sp>
    </p:spTree>
    <p:extLst>
      <p:ext uri="{BB962C8B-B14F-4D97-AF65-F5344CB8AC3E}">
        <p14:creationId xmlns:p14="http://schemas.microsoft.com/office/powerpoint/2010/main" val="12850017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eaLnBrk="1" hangingPunct="1">
              <a:spcBef>
                <a:spcPct val="0"/>
              </a:spcBef>
            </a:pPr>
            <a:fld id="{78D075D3-C0C3-4483-8B31-8A901E0CFD61}" type="slidenum">
              <a:rPr lang="en-US" altLang="en-US" smtClean="0">
                <a:latin typeface="Arial" panose="020B0604020202020204" pitchFamily="34" charset="0"/>
              </a:rPr>
              <a:pPr eaLnBrk="1" hangingPunct="1">
                <a:spcBef>
                  <a:spcPct val="0"/>
                </a:spcBef>
              </a:pPr>
              <a:t>3</a:t>
            </a:fld>
            <a:endParaRPr lang="en-US" altLang="en-US">
              <a:latin typeface="Arial" panose="020B0604020202020204" pitchFamily="34" charset="0"/>
            </a:endParaRPr>
          </a:p>
        </p:txBody>
      </p:sp>
      <p:sp>
        <p:nvSpPr>
          <p:cNvPr id="9219" name="Rectangle 2"/>
          <p:cNvSpPr>
            <a:spLocks noGrp="1" noRot="1" noChangeAspect="1" noChangeArrowheads="1" noTextEdit="1"/>
          </p:cNvSpPr>
          <p:nvPr>
            <p:ph type="sldImg"/>
          </p:nvPr>
        </p:nvSpPr>
        <p:spPr>
          <a:ln/>
        </p:spPr>
      </p:sp>
      <p:sp>
        <p:nvSpPr>
          <p:cNvPr id="92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ea typeface="ＭＳ Ｐゴシック" panose="020B0600070205080204" pitchFamily="34" charset="-128"/>
            </a:endParaRPr>
          </a:p>
        </p:txBody>
      </p:sp>
    </p:spTree>
    <p:extLst>
      <p:ext uri="{BB962C8B-B14F-4D97-AF65-F5344CB8AC3E}">
        <p14:creationId xmlns:p14="http://schemas.microsoft.com/office/powerpoint/2010/main" val="2287456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eaLnBrk="1" hangingPunct="1">
              <a:spcBef>
                <a:spcPct val="0"/>
              </a:spcBef>
            </a:pPr>
            <a:fld id="{85D24AF3-62B7-4839-9955-7FDD11F0E10A}" type="slidenum">
              <a:rPr lang="en-US" altLang="en-US" smtClean="0">
                <a:latin typeface="Arial" panose="020B0604020202020204" pitchFamily="34" charset="0"/>
              </a:rPr>
              <a:pPr eaLnBrk="1" hangingPunct="1">
                <a:spcBef>
                  <a:spcPct val="0"/>
                </a:spcBef>
              </a:pPr>
              <a:t>13</a:t>
            </a:fld>
            <a:endParaRPr lang="en-US" altLang="en-US">
              <a:latin typeface="Arial" panose="020B0604020202020204" pitchFamily="34" charset="0"/>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ea typeface="ＭＳ Ｐゴシック" panose="020B0600070205080204" pitchFamily="34" charset="-128"/>
            </a:endParaRPr>
          </a:p>
        </p:txBody>
      </p:sp>
    </p:spTree>
    <p:extLst>
      <p:ext uri="{BB962C8B-B14F-4D97-AF65-F5344CB8AC3E}">
        <p14:creationId xmlns:p14="http://schemas.microsoft.com/office/powerpoint/2010/main" val="1205969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eaLnBrk="1" hangingPunct="1">
              <a:spcBef>
                <a:spcPct val="0"/>
              </a:spcBef>
            </a:pPr>
            <a:fld id="{06FDCE87-111A-492E-AE00-6AD1AD951039}" type="slidenum">
              <a:rPr lang="en-US" altLang="en-US" smtClean="0">
                <a:latin typeface="Arial" panose="020B0604020202020204" pitchFamily="34" charset="0"/>
              </a:rPr>
              <a:pPr eaLnBrk="1" hangingPunct="1">
                <a:spcBef>
                  <a:spcPct val="0"/>
                </a:spcBef>
              </a:pPr>
              <a:t>19</a:t>
            </a:fld>
            <a:endParaRPr lang="en-US" altLang="en-US">
              <a:latin typeface="Arial" panose="020B0604020202020204" pitchFamily="34" charset="0"/>
            </a:endParaRPr>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ea typeface="ＭＳ Ｐゴシック" panose="020B0600070205080204" pitchFamily="34" charset="-128"/>
            </a:endParaRPr>
          </a:p>
        </p:txBody>
      </p:sp>
    </p:spTree>
    <p:extLst>
      <p:ext uri="{BB962C8B-B14F-4D97-AF65-F5344CB8AC3E}">
        <p14:creationId xmlns:p14="http://schemas.microsoft.com/office/powerpoint/2010/main" val="9981176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r>
              <a:rPr lang="en-US" dirty="0"/>
              <a:t>Hellen to present</a:t>
            </a:r>
          </a:p>
          <a:p>
            <a:pPr marL="171450" indent="-171450">
              <a:buFontTx/>
              <a:buChar char="-"/>
              <a:defRPr/>
            </a:pPr>
            <a:r>
              <a:rPr lang="en-US" dirty="0"/>
              <a:t>One Health is about collaboration, not creating a new silo </a:t>
            </a:r>
          </a:p>
          <a:p>
            <a:pPr marL="171450" indent="-171450">
              <a:buFontTx/>
              <a:buChar char="-"/>
              <a:defRPr/>
            </a:pPr>
            <a:r>
              <a:rPr lang="en-US" dirty="0"/>
              <a:t>This is only a sampling of issues within One Health that are commonly funded or otherwise experts say are in need of investment and focus from One Health </a:t>
            </a:r>
          </a:p>
          <a:p>
            <a:pPr marL="171450" indent="-171450">
              <a:buFontTx/>
              <a:buChar char="-"/>
              <a:defRPr/>
            </a:pPr>
            <a:r>
              <a:rPr lang="en-US" dirty="0"/>
              <a:t>Question for today is how do we foster collaboration together? </a:t>
            </a:r>
          </a:p>
        </p:txBody>
      </p:sp>
      <p:sp>
        <p:nvSpPr>
          <p:cNvPr id="409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C018DBBF-E3A2-47B4-BCB9-0883218E1EE5}" type="slidenum">
              <a:rPr lang="en-US" altLang="en-US" smtClean="0">
                <a:latin typeface="Times New Roman" panose="02020603050405020304" pitchFamily="18" charset="0"/>
              </a:rPr>
              <a:pPr/>
              <a:t>23</a:t>
            </a:fld>
            <a:endParaRPr lang="en-US" altLang="en-US">
              <a:latin typeface="Times New Roman" panose="02020603050405020304" pitchFamily="18" charset="0"/>
            </a:endParaRPr>
          </a:p>
        </p:txBody>
      </p:sp>
    </p:spTree>
    <p:extLst>
      <p:ext uri="{BB962C8B-B14F-4D97-AF65-F5344CB8AC3E}">
        <p14:creationId xmlns:p14="http://schemas.microsoft.com/office/powerpoint/2010/main" val="12382961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r>
              <a:rPr lang="en-US" dirty="0"/>
              <a:t>Sidney </a:t>
            </a:r>
          </a:p>
          <a:p>
            <a:pPr marL="171450" indent="-171450">
              <a:buFontTx/>
              <a:buChar char="-"/>
              <a:defRPr/>
            </a:pPr>
            <a:r>
              <a:rPr lang="en-US" dirty="0"/>
              <a:t>Medical professionals rarely interact with vets or environmental scientists</a:t>
            </a:r>
          </a:p>
          <a:p>
            <a:pPr marL="171450" indent="-171450">
              <a:buFontTx/>
              <a:buChar char="-"/>
              <a:defRPr/>
            </a:pPr>
            <a:r>
              <a:rPr lang="en-US" dirty="0"/>
              <a:t>However, they think OH is important to their work </a:t>
            </a:r>
          </a:p>
        </p:txBody>
      </p:sp>
      <p:sp>
        <p:nvSpPr>
          <p:cNvPr id="430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3A3FB3B2-FDCD-4491-B3EF-BFBE67A3A347}" type="slidenum">
              <a:rPr lang="en-US" altLang="en-US" smtClean="0">
                <a:latin typeface="Times New Roman" panose="02020603050405020304" pitchFamily="18" charset="0"/>
              </a:rPr>
              <a:pPr/>
              <a:t>24</a:t>
            </a:fld>
            <a:endParaRPr lang="en-US" altLang="en-US">
              <a:latin typeface="Times New Roman" panose="02020603050405020304" pitchFamily="18" charset="0"/>
            </a:endParaRPr>
          </a:p>
        </p:txBody>
      </p:sp>
    </p:spTree>
    <p:extLst>
      <p:ext uri="{BB962C8B-B14F-4D97-AF65-F5344CB8AC3E}">
        <p14:creationId xmlns:p14="http://schemas.microsoft.com/office/powerpoint/2010/main" val="15397715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ea typeface="ＭＳ Ｐゴシック" panose="020B0600070205080204" pitchFamily="34" charset="-128"/>
              </a:rPr>
              <a:t>“environment”</a:t>
            </a:r>
          </a:p>
        </p:txBody>
      </p:sp>
      <p:sp>
        <p:nvSpPr>
          <p:cNvPr id="491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0B1C8E16-EBB6-4970-A6F1-48DA1FABEC74}" type="slidenum">
              <a:rPr lang="en-US" altLang="en-US" smtClean="0">
                <a:latin typeface="Times New Roman" panose="02020603050405020304" pitchFamily="18" charset="0"/>
              </a:rPr>
              <a:pPr/>
              <a:t>29</a:t>
            </a:fld>
            <a:endParaRPr lang="en-US" altLang="en-US">
              <a:latin typeface="Times New Roman" panose="02020603050405020304" pitchFamily="18" charset="0"/>
            </a:endParaRPr>
          </a:p>
        </p:txBody>
      </p:sp>
    </p:spTree>
    <p:extLst>
      <p:ext uri="{BB962C8B-B14F-4D97-AF65-F5344CB8AC3E}">
        <p14:creationId xmlns:p14="http://schemas.microsoft.com/office/powerpoint/2010/main" val="17004106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F90570C4-1D3B-44A7-8F68-9EE1E1F0F152}" type="slidenum">
              <a:rPr lang="en-US" altLang="en-US" smtClean="0"/>
              <a:pPr/>
              <a:t>32</a:t>
            </a:fld>
            <a:endParaRPr lang="en-US" altLang="en-US"/>
          </a:p>
        </p:txBody>
      </p:sp>
      <p:sp>
        <p:nvSpPr>
          <p:cNvPr id="53251" name="Rectangle 2"/>
          <p:cNvSpPr>
            <a:spLocks noGrp="1" noRot="1" noChangeAspect="1" noChangeArrowheads="1" noTextEdit="1"/>
          </p:cNvSpPr>
          <p:nvPr>
            <p:ph type="sldImg"/>
          </p:nvPr>
        </p:nvSpPr>
        <p:spPr>
          <a:ln/>
        </p:spPr>
      </p:sp>
      <p:sp>
        <p:nvSpPr>
          <p:cNvPr id="532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ea typeface="ＭＳ Ｐゴシック" panose="020B0600070205080204" pitchFamily="34" charset="-128"/>
            </a:endParaRPr>
          </a:p>
        </p:txBody>
      </p:sp>
    </p:spTree>
    <p:extLst>
      <p:ext uri="{BB962C8B-B14F-4D97-AF65-F5344CB8AC3E}">
        <p14:creationId xmlns:p14="http://schemas.microsoft.com/office/powerpoint/2010/main" val="16195093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eaLnBrk="1" hangingPunct="1">
              <a:spcBef>
                <a:spcPct val="0"/>
              </a:spcBef>
            </a:pPr>
            <a:fld id="{898CDD9B-4608-47EA-A240-7396B5322828}" type="slidenum">
              <a:rPr lang="en-US" altLang="en-US" smtClean="0">
                <a:latin typeface="Arial" panose="020B0604020202020204" pitchFamily="34" charset="0"/>
              </a:rPr>
              <a:pPr eaLnBrk="1" hangingPunct="1">
                <a:spcBef>
                  <a:spcPct val="0"/>
                </a:spcBef>
              </a:pPr>
              <a:t>4</a:t>
            </a:fld>
            <a:endParaRPr lang="en-US" altLang="en-US">
              <a:latin typeface="Arial" panose="020B0604020202020204" pitchFamily="34" charset="0"/>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ea typeface="ＭＳ Ｐゴシック" panose="020B0600070205080204" pitchFamily="34" charset="-128"/>
            </a:endParaRPr>
          </a:p>
        </p:txBody>
      </p:sp>
    </p:spTree>
    <p:extLst>
      <p:ext uri="{BB962C8B-B14F-4D97-AF65-F5344CB8AC3E}">
        <p14:creationId xmlns:p14="http://schemas.microsoft.com/office/powerpoint/2010/main" val="264727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ln/>
        </p:spPr>
      </p:sp>
      <p:sp>
        <p:nvSpPr>
          <p:cNvPr id="133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ea typeface="ＭＳ Ｐゴシック" panose="020B0600070205080204" pitchFamily="34" charset="-128"/>
            </a:endParaRPr>
          </a:p>
        </p:txBody>
      </p:sp>
      <p:sp>
        <p:nvSpPr>
          <p:cNvPr id="133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53F5FAFC-4922-490F-81D9-85EE518ED7D0}" type="slidenum">
              <a:rPr lang="en-US" altLang="en-US" smtClean="0">
                <a:latin typeface="Times New Roman" panose="02020603050405020304" pitchFamily="18" charset="0"/>
              </a:rPr>
              <a:pPr/>
              <a:t>5</a:t>
            </a:fld>
            <a:endParaRPr lang="en-US" altLang="en-US">
              <a:latin typeface="Times New Roman" panose="02020603050405020304" pitchFamily="18" charset="0"/>
            </a:endParaRPr>
          </a:p>
        </p:txBody>
      </p:sp>
    </p:spTree>
    <p:extLst>
      <p:ext uri="{BB962C8B-B14F-4D97-AF65-F5344CB8AC3E}">
        <p14:creationId xmlns:p14="http://schemas.microsoft.com/office/powerpoint/2010/main" val="23123292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eaLnBrk="1" hangingPunct="1">
              <a:spcBef>
                <a:spcPct val="0"/>
              </a:spcBef>
            </a:pPr>
            <a:fld id="{868F0859-7937-48AC-8B38-574F776E6BF8}" type="slidenum">
              <a:rPr lang="en-US" altLang="en-US" smtClean="0">
                <a:latin typeface="Arial" panose="020B0604020202020204" pitchFamily="34" charset="0"/>
              </a:rPr>
              <a:pPr eaLnBrk="1" hangingPunct="1">
                <a:spcBef>
                  <a:spcPct val="0"/>
                </a:spcBef>
              </a:pPr>
              <a:t>7</a:t>
            </a:fld>
            <a:endParaRPr lang="en-US" altLang="en-US">
              <a:latin typeface="Arial" panose="020B0604020202020204" pitchFamily="34" charset="0"/>
            </a:endParaRPr>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ea typeface="ＭＳ Ｐゴシック" panose="020B0600070205080204" pitchFamily="34" charset="-128"/>
            </a:endParaRPr>
          </a:p>
        </p:txBody>
      </p:sp>
    </p:spTree>
    <p:extLst>
      <p:ext uri="{BB962C8B-B14F-4D97-AF65-F5344CB8AC3E}">
        <p14:creationId xmlns:p14="http://schemas.microsoft.com/office/powerpoint/2010/main" val="17734930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eaLnBrk="1" hangingPunct="1">
              <a:spcBef>
                <a:spcPct val="0"/>
              </a:spcBef>
            </a:pPr>
            <a:fld id="{1EB50BE6-E4BD-4F67-A611-B9208FB4E586}" type="slidenum">
              <a:rPr lang="en-US" altLang="en-US" smtClean="0">
                <a:latin typeface="Arial" panose="020B0604020202020204" pitchFamily="34" charset="0"/>
              </a:rPr>
              <a:pPr eaLnBrk="1" hangingPunct="1">
                <a:spcBef>
                  <a:spcPct val="0"/>
                </a:spcBef>
              </a:pPr>
              <a:t>8</a:t>
            </a:fld>
            <a:endParaRPr lang="en-US" altLang="en-US">
              <a:latin typeface="Arial" panose="020B0604020202020204" pitchFamily="34" charset="0"/>
            </a:endParaRPr>
          </a:p>
        </p:txBody>
      </p:sp>
      <p:sp>
        <p:nvSpPr>
          <p:cNvPr id="18435" name="Rectangle 2"/>
          <p:cNvSpPr>
            <a:spLocks noGrp="1" noRot="1" noChangeAspect="1" noChangeArrowheads="1" noTextEdit="1"/>
          </p:cNvSpPr>
          <p:nvPr>
            <p:ph type="sldImg"/>
          </p:nvPr>
        </p:nvSpPr>
        <p:spPr>
          <a:ln/>
        </p:spPr>
      </p:sp>
      <p:sp>
        <p:nvSpPr>
          <p:cNvPr id="184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ea typeface="ＭＳ Ｐゴシック" panose="020B0600070205080204" pitchFamily="34" charset="-128"/>
            </a:endParaRPr>
          </a:p>
        </p:txBody>
      </p:sp>
    </p:spTree>
    <p:extLst>
      <p:ext uri="{BB962C8B-B14F-4D97-AF65-F5344CB8AC3E}">
        <p14:creationId xmlns:p14="http://schemas.microsoft.com/office/powerpoint/2010/main" val="36448105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eaLnBrk="1" hangingPunct="1">
              <a:spcBef>
                <a:spcPct val="0"/>
              </a:spcBef>
            </a:pPr>
            <a:fld id="{EFFC94CB-F840-432E-9E54-B767FC845606}" type="slidenum">
              <a:rPr lang="en-US" altLang="en-US" smtClean="0">
                <a:latin typeface="Arial" panose="020B0604020202020204" pitchFamily="34" charset="0"/>
              </a:rPr>
              <a:pPr eaLnBrk="1" hangingPunct="1">
                <a:spcBef>
                  <a:spcPct val="0"/>
                </a:spcBef>
              </a:pPr>
              <a:t>9</a:t>
            </a:fld>
            <a:endParaRPr lang="en-US" altLang="en-US">
              <a:latin typeface="Arial" panose="020B0604020202020204" pitchFamily="34" charset="0"/>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ea typeface="ＭＳ Ｐゴシック" panose="020B0600070205080204" pitchFamily="34" charset="-128"/>
            </a:endParaRPr>
          </a:p>
        </p:txBody>
      </p:sp>
    </p:spTree>
    <p:extLst>
      <p:ext uri="{BB962C8B-B14F-4D97-AF65-F5344CB8AC3E}">
        <p14:creationId xmlns:p14="http://schemas.microsoft.com/office/powerpoint/2010/main" val="12253616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eaLnBrk="1" hangingPunct="1">
              <a:spcBef>
                <a:spcPct val="0"/>
              </a:spcBef>
            </a:pPr>
            <a:fld id="{1DF32441-396E-4510-8815-E3DF6F3D6290}" type="slidenum">
              <a:rPr lang="en-US" altLang="en-US" smtClean="0">
                <a:latin typeface="Arial" panose="020B0604020202020204" pitchFamily="34" charset="0"/>
              </a:rPr>
              <a:pPr eaLnBrk="1" hangingPunct="1">
                <a:spcBef>
                  <a:spcPct val="0"/>
                </a:spcBef>
              </a:pPr>
              <a:t>10</a:t>
            </a:fld>
            <a:endParaRPr lang="en-US" altLang="en-US">
              <a:latin typeface="Arial" panose="020B0604020202020204" pitchFamily="34" charset="0"/>
            </a:endParaRPr>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ea typeface="ＭＳ Ｐゴシック" panose="020B0600070205080204" pitchFamily="34" charset="-128"/>
            </a:endParaRPr>
          </a:p>
        </p:txBody>
      </p:sp>
    </p:spTree>
    <p:extLst>
      <p:ext uri="{BB962C8B-B14F-4D97-AF65-F5344CB8AC3E}">
        <p14:creationId xmlns:p14="http://schemas.microsoft.com/office/powerpoint/2010/main" val="9647692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eaLnBrk="1" hangingPunct="1">
              <a:spcBef>
                <a:spcPct val="0"/>
              </a:spcBef>
            </a:pPr>
            <a:fld id="{BDB95213-B730-4295-9D7B-444B8EFAEC9B}" type="slidenum">
              <a:rPr lang="en-US" altLang="en-US" smtClean="0">
                <a:latin typeface="Arial" panose="020B0604020202020204" pitchFamily="34" charset="0"/>
              </a:rPr>
              <a:pPr eaLnBrk="1" hangingPunct="1">
                <a:spcBef>
                  <a:spcPct val="0"/>
                </a:spcBef>
              </a:pPr>
              <a:t>11</a:t>
            </a:fld>
            <a:endParaRPr lang="en-US" altLang="en-US">
              <a:latin typeface="Arial" panose="020B0604020202020204" pitchFamily="34" charset="0"/>
            </a:endParaRPr>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ea typeface="ＭＳ Ｐゴシック" panose="020B0600070205080204" pitchFamily="34" charset="-128"/>
            </a:endParaRPr>
          </a:p>
        </p:txBody>
      </p:sp>
    </p:spTree>
    <p:extLst>
      <p:ext uri="{BB962C8B-B14F-4D97-AF65-F5344CB8AC3E}">
        <p14:creationId xmlns:p14="http://schemas.microsoft.com/office/powerpoint/2010/main" val="1969336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30000"/>
              </a:spcBef>
              <a:defRPr sz="12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30000"/>
              </a:spcBef>
              <a:defRPr sz="12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ea typeface="ＭＳ Ｐゴシック" panose="020B0600070205080204" pitchFamily="34" charset="-128"/>
              </a:defRPr>
            </a:lvl9pPr>
          </a:lstStyle>
          <a:p>
            <a:pPr eaLnBrk="1" hangingPunct="1">
              <a:spcBef>
                <a:spcPct val="0"/>
              </a:spcBef>
            </a:pPr>
            <a:fld id="{62C80609-BCE2-4D11-954C-150C1B30CEFF}" type="slidenum">
              <a:rPr lang="en-US" altLang="en-US" smtClean="0">
                <a:latin typeface="Arial" panose="020B0604020202020204" pitchFamily="34" charset="0"/>
              </a:rPr>
              <a:pPr eaLnBrk="1" hangingPunct="1">
                <a:spcBef>
                  <a:spcPct val="0"/>
                </a:spcBef>
              </a:pPr>
              <a:t>12</a:t>
            </a:fld>
            <a:endParaRPr lang="en-US" altLang="en-US">
              <a:latin typeface="Arial" panose="020B0604020202020204" pitchFamily="34" charset="0"/>
            </a:endParaRPr>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ea typeface="ＭＳ Ｐゴシック" panose="020B0600070205080204" pitchFamily="34" charset="-128"/>
            </a:endParaRPr>
          </a:p>
        </p:txBody>
      </p:sp>
    </p:spTree>
    <p:extLst>
      <p:ext uri="{BB962C8B-B14F-4D97-AF65-F5344CB8AC3E}">
        <p14:creationId xmlns:p14="http://schemas.microsoft.com/office/powerpoint/2010/main" val="6349743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secHead" preserve="1">
  <p:cSld name="Day Title Template">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0" y="0"/>
            <a:ext cx="9144000" cy="6858000"/>
          </a:xfrm>
          <a:prstGeom prst="roundRect">
            <a:avLst>
              <a:gd name="adj" fmla="val 1735"/>
            </a:avLst>
          </a:prstGeom>
          <a:blipFill>
            <a:blip r:embed="rId2" cstate="print"/>
            <a:tile tx="0" ty="0" sx="100000" sy="100000" flip="none" algn="tl"/>
          </a:blipFill>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451976" y="2946400"/>
            <a:ext cx="8265160" cy="24638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567656" y="3048000"/>
            <a:ext cx="8033800" cy="2245359"/>
          </a:xfrm>
          <a:prstGeom prst="rect">
            <a:avLst/>
          </a:prstGeom>
          <a:solidFill>
            <a:srgbClr val="FFFFFF"/>
          </a:solidFill>
          <a:ln w="6350" cmpd="dbl">
            <a:solidFill>
              <a:srgbClr val="996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36456" y="3200399"/>
            <a:ext cx="7696200" cy="1295401"/>
          </a:xfrm>
        </p:spPr>
        <p:txBody>
          <a:bodyPr anchor="b" anchorCtr="0">
            <a:noAutofit/>
          </a:bodyPr>
          <a:lstStyle>
            <a:lvl1pPr algn="ctr" defTabSz="914400" rtl="0" eaLnBrk="1" latinLnBrk="0" hangingPunct="1">
              <a:spcBef>
                <a:spcPct val="0"/>
              </a:spcBef>
              <a:buNone/>
              <a:defRPr lang="en-US" sz="4000" kern="1200" cap="all" baseline="0" dirty="0">
                <a:solidFill>
                  <a:srgbClr val="996633"/>
                </a:solidFill>
                <a:latin typeface="+mj-lt"/>
                <a:ea typeface="+mj-ea"/>
                <a:cs typeface="+mj-cs"/>
              </a:defRPr>
            </a:lvl1pPr>
          </a:lstStyle>
          <a:p>
            <a:r>
              <a:rPr lang="en-US" dirty="0"/>
              <a:t>Click to edit Master title style</a:t>
            </a:r>
          </a:p>
        </p:txBody>
      </p:sp>
      <p:sp>
        <p:nvSpPr>
          <p:cNvPr id="15" name="Rectangle 14"/>
          <p:cNvSpPr/>
          <p:nvPr/>
        </p:nvSpPr>
        <p:spPr>
          <a:xfrm>
            <a:off x="675496" y="4541520"/>
            <a:ext cx="7818120" cy="664367"/>
          </a:xfrm>
          <a:prstGeom prst="rect">
            <a:avLst/>
          </a:prstGeom>
          <a:solidFill>
            <a:schemeClr val="bg2">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90000"/>
                </a:schemeClr>
              </a:solidFill>
            </a:endParaRPr>
          </a:p>
        </p:txBody>
      </p:sp>
      <p:sp>
        <p:nvSpPr>
          <p:cNvPr id="3" name="Text Placeholder 2"/>
          <p:cNvSpPr>
            <a:spLocks noGrp="1"/>
          </p:cNvSpPr>
          <p:nvPr>
            <p:ph type="body" idx="1" hasCustomPrompt="1"/>
          </p:nvPr>
        </p:nvSpPr>
        <p:spPr>
          <a:xfrm>
            <a:off x="736456" y="4607510"/>
            <a:ext cx="7696200" cy="523783"/>
          </a:xfrm>
        </p:spPr>
        <p:txBody>
          <a:bodyPr anchor="ctr">
            <a:normAutofit/>
          </a:bodyPr>
          <a:lstStyle>
            <a:lvl1pPr marL="0" indent="0" algn="ctr">
              <a:buNone/>
              <a:defRPr sz="2000" cap="all" spc="25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Gender and emerging pandemic threats</a:t>
            </a:r>
          </a:p>
        </p:txBody>
      </p:sp>
      <p:sp>
        <p:nvSpPr>
          <p:cNvPr id="14" name="Rectangle 13"/>
          <p:cNvSpPr/>
          <p:nvPr/>
        </p:nvSpPr>
        <p:spPr>
          <a:xfrm>
            <a:off x="675757" y="3124200"/>
            <a:ext cx="7817599" cy="2077720"/>
          </a:xfrm>
          <a:prstGeom prst="rect">
            <a:avLst/>
          </a:prstGeom>
          <a:no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50000"/>
                </a:schemeClr>
              </a:solidFill>
            </a:endParaRPr>
          </a:p>
        </p:txBody>
      </p:sp>
      <p:pic>
        <p:nvPicPr>
          <p:cNvPr id="1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57200" y="6324600"/>
            <a:ext cx="1136588" cy="2451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210083" y="6273426"/>
            <a:ext cx="3543300" cy="342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11507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and Bullet Templa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3" name="Straight Connector 2"/>
          <p:cNvCxnSpPr/>
          <p:nvPr userDrawn="1"/>
        </p:nvCxnSpPr>
        <p:spPr>
          <a:xfrm>
            <a:off x="457200" y="1447800"/>
            <a:ext cx="8296183" cy="0"/>
          </a:xfrm>
          <a:prstGeom prst="line">
            <a:avLst/>
          </a:prstGeom>
          <a:ln w="12700">
            <a:solidFill>
              <a:srgbClr val="ECD9C6"/>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0"/>
          </p:nvPr>
        </p:nvSpPr>
        <p:spPr>
          <a:xfrm>
            <a:off x="457200" y="1676400"/>
            <a:ext cx="8153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24040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lumn Content Template">
    <p:spTree>
      <p:nvGrpSpPr>
        <p:cNvPr id="1" name=""/>
        <p:cNvGrpSpPr/>
        <p:nvPr/>
      </p:nvGrpSpPr>
      <p:grpSpPr>
        <a:xfrm>
          <a:off x="0" y="0"/>
          <a:ext cx="0" cy="0"/>
          <a:chOff x="0" y="0"/>
          <a:chExt cx="0" cy="0"/>
        </a:xfrm>
      </p:grpSpPr>
      <p:sp>
        <p:nvSpPr>
          <p:cNvPr id="2" name="Title 1"/>
          <p:cNvSpPr>
            <a:spLocks noGrp="1"/>
          </p:cNvSpPr>
          <p:nvPr>
            <p:ph type="title"/>
          </p:nvPr>
        </p:nvSpPr>
        <p:spPr>
          <a:xfrm>
            <a:off x="426128" y="408372"/>
            <a:ext cx="8260672" cy="1039427"/>
          </a:xfrm>
        </p:spPr>
        <p:txBody>
          <a:bodyPr/>
          <a:lstStyle/>
          <a:p>
            <a:r>
              <a:rPr lang="en-US"/>
              <a:t>Click to edit Master title style</a:t>
            </a:r>
          </a:p>
        </p:txBody>
      </p:sp>
      <p:sp>
        <p:nvSpPr>
          <p:cNvPr id="3" name="Content Placeholder 2"/>
          <p:cNvSpPr>
            <a:spLocks noGrp="1"/>
          </p:cNvSpPr>
          <p:nvPr>
            <p:ph sz="half" idx="1"/>
          </p:nvPr>
        </p:nvSpPr>
        <p:spPr>
          <a:xfrm>
            <a:off x="426128" y="1719071"/>
            <a:ext cx="4038600" cy="44074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719071"/>
            <a:ext cx="4038600" cy="44074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a:xfrm>
            <a:off x="457200" y="1447800"/>
            <a:ext cx="8229600" cy="0"/>
          </a:xfrm>
          <a:prstGeom prst="line">
            <a:avLst/>
          </a:prstGeom>
          <a:ln w="12700">
            <a:solidFill>
              <a:srgbClr val="ECD9C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457200" y="6172200"/>
            <a:ext cx="8229600" cy="0"/>
          </a:xfrm>
          <a:prstGeom prst="line">
            <a:avLst/>
          </a:prstGeom>
          <a:ln w="12700">
            <a:solidFill>
              <a:srgbClr val="ECD9C6"/>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or Photo Template">
    <p:spTree>
      <p:nvGrpSpPr>
        <p:cNvPr id="1" name=""/>
        <p:cNvGrpSpPr/>
        <p:nvPr/>
      </p:nvGrpSpPr>
      <p:grpSpPr>
        <a:xfrm>
          <a:off x="0" y="0"/>
          <a:ext cx="0" cy="0"/>
          <a:chOff x="0" y="0"/>
          <a:chExt cx="0" cy="0"/>
        </a:xfrm>
      </p:grpSpPr>
      <p:sp>
        <p:nvSpPr>
          <p:cNvPr id="3" name="Rectangle 2"/>
          <p:cNvSpPr/>
          <p:nvPr userDrawn="1"/>
        </p:nvSpPr>
        <p:spPr>
          <a:xfrm>
            <a:off x="457200" y="609600"/>
            <a:ext cx="8305800" cy="5562600"/>
          </a:xfrm>
          <a:prstGeom prst="rect">
            <a:avLst/>
          </a:prstGeom>
          <a:blipFill>
            <a:blip r:embed="rId2" cstate="print"/>
            <a:tile tx="0" ty="0" sx="100000" sy="100000" flip="none" algn="tl"/>
          </a:blip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973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0"/>
            <a:ext cx="5867400" cy="6858000"/>
            <a:chOff x="0" y="0"/>
            <a:chExt cx="3696" cy="4320"/>
          </a:xfrm>
        </p:grpSpPr>
        <p:sp>
          <p:nvSpPr>
            <p:cNvPr id="5" name="Rectangle 3"/>
            <p:cNvSpPr>
              <a:spLocks noChangeArrowheads="1"/>
            </p:cNvSpPr>
            <p:nvPr/>
          </p:nvSpPr>
          <p:spPr bwMode="auto">
            <a:xfrm>
              <a:off x="0" y="0"/>
              <a:ext cx="2880" cy="432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kumimoji="1" lang="en-US" altLang="en-US">
                <a:latin typeface="Times New Roman" pitchFamily="18" charset="0"/>
              </a:endParaRPr>
            </a:p>
          </p:txBody>
        </p:sp>
        <p:sp>
          <p:nvSpPr>
            <p:cNvPr id="6" name="AutoShape 4"/>
            <p:cNvSpPr>
              <a:spLocks noChangeArrowheads="1"/>
            </p:cNvSpPr>
            <p:nvPr/>
          </p:nvSpPr>
          <p:spPr bwMode="white">
            <a:xfrm>
              <a:off x="432" y="624"/>
              <a:ext cx="3264" cy="1200"/>
            </a:xfrm>
            <a:prstGeom prst="roundRect">
              <a:avLst>
                <a:gd name="adj" fmla="val 50000"/>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kumimoji="1" lang="en-US" altLang="en-US">
                <a:latin typeface="Times New Roman" pitchFamily="18" charset="0"/>
              </a:endParaRPr>
            </a:p>
          </p:txBody>
        </p:sp>
      </p:grpSp>
      <p:grpSp>
        <p:nvGrpSpPr>
          <p:cNvPr id="7" name="Group 5"/>
          <p:cNvGrpSpPr>
            <a:grpSpLocks/>
          </p:cNvGrpSpPr>
          <p:nvPr/>
        </p:nvGrpSpPr>
        <p:grpSpPr bwMode="auto">
          <a:xfrm>
            <a:off x="3632200" y="4889500"/>
            <a:ext cx="4876800" cy="319088"/>
            <a:chOff x="2288" y="3080"/>
            <a:chExt cx="3072" cy="201"/>
          </a:xfrm>
        </p:grpSpPr>
        <p:sp>
          <p:nvSpPr>
            <p:cNvPr id="8" name="AutoShape 6"/>
            <p:cNvSpPr>
              <a:spLocks noChangeArrowheads="1"/>
            </p:cNvSpPr>
            <p:nvPr/>
          </p:nvSpPr>
          <p:spPr bwMode="auto">
            <a:xfrm flipH="1">
              <a:off x="2288" y="3080"/>
              <a:ext cx="2914" cy="200"/>
            </a:xfrm>
            <a:prstGeom prst="roundRect">
              <a:avLst>
                <a:gd name="adj" fmla="val 0"/>
              </a:avLst>
            </a:pr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endParaRPr lang="en-US" altLang="en-US" sz="1800"/>
            </a:p>
          </p:txBody>
        </p:sp>
        <p:sp>
          <p:nvSpPr>
            <p:cNvPr id="9" name="AutoShape 7"/>
            <p:cNvSpPr>
              <a:spLocks noChangeArrowheads="1"/>
            </p:cNvSpPr>
            <p:nvPr/>
          </p:nvSpPr>
          <p:spPr bwMode="auto">
            <a:xfrm>
              <a:off x="5196" y="3080"/>
              <a:ext cx="164" cy="201"/>
            </a:xfrm>
            <a:prstGeom prst="flowChartDelay">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endParaRPr lang="en-US" altLang="en-US" sz="1800"/>
            </a:p>
          </p:txBody>
        </p:sp>
      </p:grpSp>
      <p:sp>
        <p:nvSpPr>
          <p:cNvPr id="353288" name="Rectangle 8"/>
          <p:cNvSpPr>
            <a:spLocks noGrp="1" noChangeArrowheads="1"/>
          </p:cNvSpPr>
          <p:nvPr>
            <p:ph type="subTitle" idx="1"/>
          </p:nvPr>
        </p:nvSpPr>
        <p:spPr>
          <a:xfrm>
            <a:off x="4673600" y="2927350"/>
            <a:ext cx="4013200" cy="1822450"/>
          </a:xfrm>
        </p:spPr>
        <p:txBody>
          <a:bodyPr anchor="b"/>
          <a:lstStyle>
            <a:lvl1pPr marL="0" indent="0">
              <a:buFont typeface="Wingdings" pitchFamily="2" charset="2"/>
              <a:buNone/>
              <a:defRPr>
                <a:solidFill>
                  <a:schemeClr val="tx2"/>
                </a:solidFill>
              </a:defRPr>
            </a:lvl1pPr>
          </a:lstStyle>
          <a:p>
            <a:r>
              <a:rPr lang="en-US"/>
              <a:t>Click to edit Master subtitle style</a:t>
            </a:r>
          </a:p>
        </p:txBody>
      </p:sp>
      <p:sp>
        <p:nvSpPr>
          <p:cNvPr id="353292" name="AutoShape 12"/>
          <p:cNvSpPr>
            <a:spLocks noGrp="1" noChangeArrowheads="1"/>
          </p:cNvSpPr>
          <p:nvPr>
            <p:ph type="ctrTitle" sz="quarter"/>
          </p:nvPr>
        </p:nvSpPr>
        <p:spPr>
          <a:xfrm>
            <a:off x="685800" y="990600"/>
            <a:ext cx="8229600" cy="1905000"/>
          </a:xfrm>
          <a:prstGeom prst="roundRect">
            <a:avLst>
              <a:gd name="adj" fmla="val 50000"/>
            </a:avLst>
          </a:prstGeom>
        </p:spPr>
        <p:txBody>
          <a:bodyPr anchor="ctr"/>
          <a:lstStyle>
            <a:lvl1pPr algn="ctr">
              <a:defRPr>
                <a:solidFill>
                  <a:schemeClr val="tx1"/>
                </a:solidFill>
              </a:defRPr>
            </a:lvl1pPr>
          </a:lstStyle>
          <a:p>
            <a:r>
              <a:rPr lang="en-US"/>
              <a:t>Click to edit Master title style</a:t>
            </a:r>
          </a:p>
        </p:txBody>
      </p:sp>
      <p:sp>
        <p:nvSpPr>
          <p:cNvPr id="10" name="Date Placeholder 9"/>
          <p:cNvSpPr>
            <a:spLocks noGrp="1" noChangeArrowheads="1"/>
          </p:cNvSpPr>
          <p:nvPr>
            <p:ph type="dt" sz="quarter" idx="10"/>
          </p:nvPr>
        </p:nvSpPr>
        <p:spPr/>
        <p:txBody>
          <a:bodyPr/>
          <a:lstStyle>
            <a:lvl1pPr>
              <a:defRPr>
                <a:solidFill>
                  <a:schemeClr val="bg1"/>
                </a:solidFill>
              </a:defRPr>
            </a:lvl1pPr>
          </a:lstStyle>
          <a:p>
            <a:pPr>
              <a:defRPr/>
            </a:pPr>
            <a:endParaRPr lang="en-US"/>
          </a:p>
        </p:txBody>
      </p:sp>
      <p:sp>
        <p:nvSpPr>
          <p:cNvPr id="11" name="Footer Placeholder 10"/>
          <p:cNvSpPr>
            <a:spLocks noGrp="1" noChangeArrowheads="1"/>
          </p:cNvSpPr>
          <p:nvPr>
            <p:ph type="ftr" sz="quarter" idx="11"/>
          </p:nvPr>
        </p:nvSpPr>
        <p:spPr/>
        <p:txBody>
          <a:bodyPr/>
          <a:lstStyle>
            <a:lvl1pPr algn="r">
              <a:defRPr/>
            </a:lvl1pPr>
          </a:lstStyle>
          <a:p>
            <a:pPr>
              <a:defRPr/>
            </a:pPr>
            <a:endParaRPr lang="en-US"/>
          </a:p>
        </p:txBody>
      </p:sp>
      <p:sp>
        <p:nvSpPr>
          <p:cNvPr id="12" name="Slide Number Placeholder 11"/>
          <p:cNvSpPr>
            <a:spLocks noGrp="1" noChangeArrowheads="1"/>
          </p:cNvSpPr>
          <p:nvPr>
            <p:ph type="sldNum" sz="quarter" idx="12"/>
          </p:nvPr>
        </p:nvSpPr>
        <p:spPr>
          <a:xfrm>
            <a:off x="76200" y="6248400"/>
            <a:ext cx="587375" cy="488950"/>
          </a:xfrm>
        </p:spPr>
        <p:txBody>
          <a:bodyPr anchorCtr="0"/>
          <a:lstStyle>
            <a:lvl1pPr>
              <a:defRPr/>
            </a:lvl1pPr>
          </a:lstStyle>
          <a:p>
            <a:pPr>
              <a:defRPr/>
            </a:pPr>
            <a:fld id="{1575C522-6225-4FFB-9655-F108EAA2B8F8}" type="slidenum">
              <a:rPr lang="en-US" altLang="en-US"/>
              <a:pPr>
                <a:defRPr/>
              </a:pPr>
              <a:t>‹#›</a:t>
            </a:fld>
            <a:endParaRPr lang="en-US" altLang="en-US"/>
          </a:p>
        </p:txBody>
      </p:sp>
    </p:spTree>
    <p:extLst>
      <p:ext uri="{BB962C8B-B14F-4D97-AF65-F5344CB8AC3E}">
        <p14:creationId xmlns:p14="http://schemas.microsoft.com/office/powerpoint/2010/main" val="3332463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p:cNvSpPr>
            <a:spLocks noGrp="1" noChangeArrowheads="1"/>
          </p:cNvSpPr>
          <p:nvPr>
            <p:ph type="dt" sz="half" idx="10"/>
          </p:nvPr>
        </p:nvSpPr>
        <p:spPr>
          <a:ln/>
        </p:spPr>
        <p:txBody>
          <a:bodyPr/>
          <a:lstStyle>
            <a:lvl1pPr>
              <a:defRPr/>
            </a:lvl1pPr>
          </a:lstStyle>
          <a:p>
            <a:pPr>
              <a:defRPr/>
            </a:pPr>
            <a:endParaRPr lang="en-US"/>
          </a:p>
        </p:txBody>
      </p:sp>
      <p:sp>
        <p:nvSpPr>
          <p:cNvPr id="5" name="Rectangle 12"/>
          <p:cNvSpPr>
            <a:spLocks noGrp="1" noChangeArrowheads="1"/>
          </p:cNvSpPr>
          <p:nvPr>
            <p:ph type="ftr" sz="quarter" idx="11"/>
          </p:nvPr>
        </p:nvSpPr>
        <p:spPr>
          <a:ln/>
        </p:spPr>
        <p:txBody>
          <a:bodyPr/>
          <a:lstStyle>
            <a:lvl1pPr>
              <a:defRPr/>
            </a:lvl1pPr>
          </a:lstStyle>
          <a:p>
            <a:pPr>
              <a:defRPr/>
            </a:pPr>
            <a:endParaRPr lang="en-US"/>
          </a:p>
        </p:txBody>
      </p:sp>
      <p:sp>
        <p:nvSpPr>
          <p:cNvPr id="6" name="Rectangle 13"/>
          <p:cNvSpPr>
            <a:spLocks noGrp="1" noChangeArrowheads="1"/>
          </p:cNvSpPr>
          <p:nvPr>
            <p:ph type="sldNum" sz="quarter" idx="12"/>
          </p:nvPr>
        </p:nvSpPr>
        <p:spPr>
          <a:ln/>
        </p:spPr>
        <p:txBody>
          <a:bodyPr/>
          <a:lstStyle>
            <a:lvl1pPr>
              <a:defRPr/>
            </a:lvl1pPr>
          </a:lstStyle>
          <a:p>
            <a:pPr>
              <a:defRPr/>
            </a:pPr>
            <a:fld id="{2E019F85-E2FF-4DDA-92C4-63494FA1BF27}" type="slidenum">
              <a:rPr lang="en-US" altLang="en-US"/>
              <a:pPr>
                <a:defRPr/>
              </a:pPr>
              <a:t>‹#›</a:t>
            </a:fld>
            <a:endParaRPr lang="en-US" altLang="en-US"/>
          </a:p>
        </p:txBody>
      </p:sp>
    </p:spTree>
    <p:extLst>
      <p:ext uri="{BB962C8B-B14F-4D97-AF65-F5344CB8AC3E}">
        <p14:creationId xmlns:p14="http://schemas.microsoft.com/office/powerpoint/2010/main" val="22092556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ln/>
        </p:spPr>
        <p:txBody>
          <a:bodyPr/>
          <a:lstStyle>
            <a:lvl1pPr>
              <a:defRPr/>
            </a:lvl1pPr>
          </a:lstStyle>
          <a:p>
            <a:pPr>
              <a:defRPr/>
            </a:pPr>
            <a:endParaRPr lang="en-US"/>
          </a:p>
        </p:txBody>
      </p:sp>
      <p:sp>
        <p:nvSpPr>
          <p:cNvPr id="3" name="Rectangle 12"/>
          <p:cNvSpPr>
            <a:spLocks noGrp="1" noChangeArrowheads="1"/>
          </p:cNvSpPr>
          <p:nvPr>
            <p:ph type="ftr" sz="quarter" idx="11"/>
          </p:nvPr>
        </p:nvSpPr>
        <p:spPr>
          <a:ln/>
        </p:spPr>
        <p:txBody>
          <a:bodyPr/>
          <a:lstStyle>
            <a:lvl1pPr>
              <a:defRPr/>
            </a:lvl1pPr>
          </a:lstStyle>
          <a:p>
            <a:pPr>
              <a:defRPr/>
            </a:pPr>
            <a:endParaRPr lang="en-US"/>
          </a:p>
        </p:txBody>
      </p:sp>
      <p:sp>
        <p:nvSpPr>
          <p:cNvPr id="4" name="Rectangle 13"/>
          <p:cNvSpPr>
            <a:spLocks noGrp="1" noChangeArrowheads="1"/>
          </p:cNvSpPr>
          <p:nvPr>
            <p:ph type="sldNum" sz="quarter" idx="12"/>
          </p:nvPr>
        </p:nvSpPr>
        <p:spPr>
          <a:ln/>
        </p:spPr>
        <p:txBody>
          <a:bodyPr/>
          <a:lstStyle>
            <a:lvl1pPr>
              <a:defRPr/>
            </a:lvl1pPr>
          </a:lstStyle>
          <a:p>
            <a:pPr>
              <a:defRPr/>
            </a:pPr>
            <a:fld id="{7F86649E-CDC6-442F-8104-7C4D4643842E}" type="slidenum">
              <a:rPr lang="en-US" altLang="en-US"/>
              <a:pPr>
                <a:defRPr/>
              </a:pPr>
              <a:t>‹#›</a:t>
            </a:fld>
            <a:endParaRPr lang="en-US" altLang="en-US"/>
          </a:p>
        </p:txBody>
      </p:sp>
    </p:spTree>
    <p:extLst>
      <p:ext uri="{BB962C8B-B14F-4D97-AF65-F5344CB8AC3E}">
        <p14:creationId xmlns:p14="http://schemas.microsoft.com/office/powerpoint/2010/main" val="1091738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1"/>
          <p:cNvSpPr>
            <a:spLocks noGrp="1" noChangeArrowheads="1"/>
          </p:cNvSpPr>
          <p:nvPr>
            <p:ph type="dt" sz="half" idx="10"/>
          </p:nvPr>
        </p:nvSpPr>
        <p:spPr>
          <a:ln/>
        </p:spPr>
        <p:txBody>
          <a:bodyPr/>
          <a:lstStyle>
            <a:lvl1pPr>
              <a:defRPr/>
            </a:lvl1pPr>
          </a:lstStyle>
          <a:p>
            <a:pPr>
              <a:defRPr/>
            </a:pPr>
            <a:endParaRPr lang="en-US"/>
          </a:p>
        </p:txBody>
      </p:sp>
      <p:sp>
        <p:nvSpPr>
          <p:cNvPr id="4" name="Rectangle 12"/>
          <p:cNvSpPr>
            <a:spLocks noGrp="1" noChangeArrowheads="1"/>
          </p:cNvSpPr>
          <p:nvPr>
            <p:ph type="ftr" sz="quarter" idx="11"/>
          </p:nvPr>
        </p:nvSpPr>
        <p:spPr>
          <a:ln/>
        </p:spPr>
        <p:txBody>
          <a:bodyPr/>
          <a:lstStyle>
            <a:lvl1pPr>
              <a:defRPr/>
            </a:lvl1pPr>
          </a:lstStyle>
          <a:p>
            <a:pPr>
              <a:defRPr/>
            </a:pPr>
            <a:endParaRPr lang="en-US"/>
          </a:p>
        </p:txBody>
      </p:sp>
      <p:sp>
        <p:nvSpPr>
          <p:cNvPr id="5" name="Rectangle 13"/>
          <p:cNvSpPr>
            <a:spLocks noGrp="1" noChangeArrowheads="1"/>
          </p:cNvSpPr>
          <p:nvPr>
            <p:ph type="sldNum" sz="quarter" idx="12"/>
          </p:nvPr>
        </p:nvSpPr>
        <p:spPr>
          <a:ln/>
        </p:spPr>
        <p:txBody>
          <a:bodyPr/>
          <a:lstStyle>
            <a:lvl1pPr>
              <a:defRPr/>
            </a:lvl1pPr>
          </a:lstStyle>
          <a:p>
            <a:pPr>
              <a:defRPr/>
            </a:pPr>
            <a:fld id="{0A244BEF-94FD-433B-BADA-515B8423D0DB}" type="slidenum">
              <a:rPr lang="en-US" altLang="en-US"/>
              <a:pPr>
                <a:defRPr/>
              </a:pPr>
              <a:t>‹#›</a:t>
            </a:fld>
            <a:endParaRPr lang="en-US" altLang="en-US"/>
          </a:p>
        </p:txBody>
      </p:sp>
    </p:spTree>
    <p:extLst>
      <p:ext uri="{BB962C8B-B14F-4D97-AF65-F5344CB8AC3E}">
        <p14:creationId xmlns:p14="http://schemas.microsoft.com/office/powerpoint/2010/main" val="31650419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png"/><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457200" y="1752600"/>
            <a:ext cx="8229600" cy="43735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9" name="Rectangle 8"/>
          <p:cNvSpPr/>
          <p:nvPr/>
        </p:nvSpPr>
        <p:spPr>
          <a:xfrm>
            <a:off x="274320" y="278166"/>
            <a:ext cx="859536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a:solidFill>
                <a:schemeClr val="lt1"/>
              </a:solidFill>
              <a:latin typeface="+mn-lt"/>
              <a:ea typeface="+mn-ea"/>
              <a:cs typeface="+mn-cs"/>
            </a:endParaRPr>
          </a:p>
        </p:txBody>
      </p:sp>
      <p:sp>
        <p:nvSpPr>
          <p:cNvPr id="10" name="Rectangle 9"/>
          <p:cNvSpPr/>
          <p:nvPr/>
        </p:nvSpPr>
        <p:spPr>
          <a:xfrm>
            <a:off x="372863" y="372862"/>
            <a:ext cx="8380520" cy="111858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6128" y="408372"/>
            <a:ext cx="8260672" cy="1039427"/>
          </a:xfrm>
          <a:prstGeom prst="rect">
            <a:avLst/>
          </a:prstGeom>
        </p:spPr>
        <p:txBody>
          <a:bodyPr vert="horz" lIns="91440" tIns="45720" rIns="91440" bIns="45720" rtlCol="0" anchor="ctr">
            <a:normAutofit/>
          </a:bodyPr>
          <a:lstStyle/>
          <a:p>
            <a:r>
              <a:rPr lang="en-US" dirty="0"/>
              <a:t>Click to edit Master title style</a:t>
            </a:r>
          </a:p>
        </p:txBody>
      </p:sp>
      <p:cxnSp>
        <p:nvCxnSpPr>
          <p:cNvPr id="5" name="Straight Connector 4"/>
          <p:cNvCxnSpPr/>
          <p:nvPr userDrawn="1"/>
        </p:nvCxnSpPr>
        <p:spPr>
          <a:xfrm>
            <a:off x="457200" y="1447800"/>
            <a:ext cx="8296183" cy="0"/>
          </a:xfrm>
          <a:prstGeom prst="line">
            <a:avLst/>
          </a:prstGeom>
          <a:ln w="12700">
            <a:solidFill>
              <a:srgbClr val="ECD9C6"/>
            </a:solidFill>
          </a:ln>
        </p:spPr>
        <p:style>
          <a:lnRef idx="1">
            <a:schemeClr val="accent1"/>
          </a:lnRef>
          <a:fillRef idx="0">
            <a:schemeClr val="accent1"/>
          </a:fillRef>
          <a:effectRef idx="0">
            <a:schemeClr val="accent1"/>
          </a:effectRef>
          <a:fontRef idx="minor">
            <a:schemeClr val="tx1"/>
          </a:fontRef>
        </p:style>
      </p:cxnSp>
      <p:pic>
        <p:nvPicPr>
          <p:cNvPr id="1026" name="Picture 2"/>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457200" y="6324600"/>
            <a:ext cx="1136588" cy="2451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210083" y="6273426"/>
            <a:ext cx="3543300" cy="342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5" name="Straight Connector 14"/>
          <p:cNvCxnSpPr/>
          <p:nvPr userDrawn="1"/>
        </p:nvCxnSpPr>
        <p:spPr>
          <a:xfrm>
            <a:off x="457200" y="6172200"/>
            <a:ext cx="8296183" cy="0"/>
          </a:xfrm>
          <a:prstGeom prst="line">
            <a:avLst/>
          </a:prstGeom>
          <a:ln w="12700">
            <a:solidFill>
              <a:srgbClr val="ECD9C6"/>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804" r:id="rId1"/>
    <p:sldLayoutId id="2147483805" r:id="rId2"/>
    <p:sldLayoutId id="2147483796" r:id="rId3"/>
    <p:sldLayoutId id="2147483806" r:id="rId4"/>
    <p:sldLayoutId id="2147483807" r:id="rId5"/>
    <p:sldLayoutId id="2147483808" r:id="rId6"/>
    <p:sldLayoutId id="2147483809" r:id="rId7"/>
    <p:sldLayoutId id="2147483810" r:id="rId8"/>
  </p:sldLayoutIdLst>
  <p:txStyles>
    <p:titleStyle>
      <a:lvl1pPr algn="ctr" defTabSz="914400" rtl="0" eaLnBrk="1" latinLnBrk="0" hangingPunct="1">
        <a:spcBef>
          <a:spcPct val="0"/>
        </a:spcBef>
        <a:buNone/>
        <a:defRPr sz="3500" kern="1200" cap="all" baseline="0">
          <a:solidFill>
            <a:srgbClr val="996633"/>
          </a:solidFill>
          <a:latin typeface="+mj-lt"/>
          <a:ea typeface="+mj-ea"/>
          <a:cs typeface="+mj-cs"/>
        </a:defRPr>
      </a:lvl1pPr>
    </p:titleStyle>
    <p:bodyStyle>
      <a:lvl1pPr marL="342900" indent="-228600" algn="l" defTabSz="914400" rtl="0" eaLnBrk="1" latinLnBrk="0" hangingPunct="1">
        <a:lnSpc>
          <a:spcPct val="112000"/>
        </a:lnSpc>
        <a:spcBef>
          <a:spcPct val="20000"/>
        </a:spcBef>
        <a:spcAft>
          <a:spcPts val="600"/>
        </a:spcAft>
        <a:buClr>
          <a:schemeClr val="bg2">
            <a:lumMod val="50000"/>
          </a:schemeClr>
        </a:buClr>
        <a:buFont typeface="Wingdings" panose="05000000000000000000" pitchFamily="2" charset="2"/>
        <a:buChar char="§"/>
        <a:defRPr sz="2400" kern="1200">
          <a:solidFill>
            <a:schemeClr val="tx1">
              <a:lumMod val="75000"/>
              <a:lumOff val="25000"/>
            </a:schemeClr>
          </a:solidFill>
          <a:latin typeface="+mn-lt"/>
          <a:ea typeface="+mn-ea"/>
          <a:cs typeface="+mn-cs"/>
        </a:defRPr>
      </a:lvl1pPr>
      <a:lvl2pPr marL="640080" indent="-228600" algn="l" defTabSz="914400" rtl="0" eaLnBrk="1" latinLnBrk="0" hangingPunct="1">
        <a:lnSpc>
          <a:spcPct val="112000"/>
        </a:lnSpc>
        <a:spcBef>
          <a:spcPct val="20000"/>
        </a:spcBef>
        <a:spcAft>
          <a:spcPts val="600"/>
        </a:spcAft>
        <a:buClr>
          <a:schemeClr val="bg2">
            <a:lumMod val="50000"/>
          </a:schemeClr>
        </a:buClr>
        <a:buFont typeface="Century Gothic" panose="020B0502020202020204" pitchFamily="34" charset="0"/>
        <a:buChar char="―"/>
        <a:defRPr sz="2000" kern="1200">
          <a:solidFill>
            <a:schemeClr val="tx1">
              <a:lumMod val="75000"/>
              <a:lumOff val="25000"/>
            </a:schemeClr>
          </a:solidFill>
          <a:latin typeface="+mn-lt"/>
          <a:ea typeface="+mn-ea"/>
          <a:cs typeface="+mn-cs"/>
        </a:defRPr>
      </a:lvl2pPr>
      <a:lvl3pPr marL="914400" indent="-228600" algn="l" defTabSz="914400" rtl="0" eaLnBrk="1" latinLnBrk="0" hangingPunct="1">
        <a:lnSpc>
          <a:spcPct val="112000"/>
        </a:lnSpc>
        <a:spcBef>
          <a:spcPct val="20000"/>
        </a:spcBef>
        <a:spcAft>
          <a:spcPts val="600"/>
        </a:spcAft>
        <a:buClr>
          <a:schemeClr val="bg2">
            <a:lumMod val="50000"/>
          </a:schemeClr>
        </a:buClr>
        <a:buFont typeface="Century Gothic" panose="020B0502020202020204" pitchFamily="34" charset="0"/>
        <a:buChar char="―"/>
        <a:defRPr sz="1800" kern="1200">
          <a:solidFill>
            <a:schemeClr val="tx1">
              <a:lumMod val="75000"/>
              <a:lumOff val="25000"/>
            </a:schemeClr>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lumMod val="75000"/>
              <a:lumOff val="25000"/>
            </a:schemeClr>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600" kern="1200" baseline="0">
          <a:solidFill>
            <a:schemeClr val="tx1">
              <a:lumMod val="75000"/>
              <a:lumOff val="25000"/>
            </a:schemeClr>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a:solidFill>
            <a:schemeClr val="tx2"/>
          </a:solidFill>
          <a:latin typeface="+mn-lt"/>
          <a:ea typeface="+mn-ea"/>
          <a:cs typeface="+mn-cs"/>
        </a:defRPr>
      </a:lvl6pPr>
      <a:lvl7pPr marL="2011680" indent="-182880" algn="l" defTabSz="914400" rtl="0" eaLnBrk="1" latinLnBrk="0" hangingPunct="1">
        <a:spcBef>
          <a:spcPct val="20000"/>
        </a:spcBef>
        <a:buClr>
          <a:schemeClr val="accent2"/>
        </a:buClr>
        <a:buFont typeface="Arial" pitchFamily="34" charset="0"/>
        <a:buChar char="•"/>
        <a:defRPr sz="1400" kern="1200">
          <a:solidFill>
            <a:schemeClr val="tx2"/>
          </a:solidFill>
          <a:latin typeface="+mn-lt"/>
          <a:ea typeface="+mn-ea"/>
          <a:cs typeface="+mn-cs"/>
        </a:defRPr>
      </a:lvl7pPr>
      <a:lvl8pPr marL="2194560" indent="-182880" algn="l" defTabSz="914400" rtl="0" eaLnBrk="1" latinLnBrk="0" hangingPunct="1">
        <a:spcBef>
          <a:spcPct val="20000"/>
        </a:spcBef>
        <a:buClr>
          <a:schemeClr val="accent3"/>
        </a:buClr>
        <a:buFont typeface="Arial" pitchFamily="34" charset="0"/>
        <a:buChar char="•"/>
        <a:defRPr sz="1400" kern="1200">
          <a:solidFill>
            <a:schemeClr val="tx2"/>
          </a:solidFill>
          <a:latin typeface="+mn-lt"/>
          <a:ea typeface="+mn-ea"/>
          <a:cs typeface="+mn-cs"/>
        </a:defRPr>
      </a:lvl8pPr>
      <a:lvl9pPr marL="2377440" indent="-182880" algn="l" defTabSz="914400" rtl="0" eaLnBrk="1" latinLnBrk="0" hangingPunct="1">
        <a:spcBef>
          <a:spcPct val="20000"/>
        </a:spcBef>
        <a:buClr>
          <a:schemeClr val="accent4"/>
        </a:buClr>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5.png"/><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4.emf"/><Relationship Id="rId5" Type="http://schemas.openxmlformats.org/officeDocument/2006/relationships/image" Target="../media/image33.emf"/><Relationship Id="rId4" Type="http://schemas.openxmlformats.org/officeDocument/2006/relationships/notesSlide" Target="../notesSlides/notesSlide13.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 Id="rId6" Type="http://schemas.openxmlformats.org/officeDocument/2006/relationships/image" Target="../media/image5.png"/><Relationship Id="rId5" Type="http://schemas.openxmlformats.org/officeDocument/2006/relationships/image" Target="../media/image40.png"/><Relationship Id="rId4" Type="http://schemas.openxmlformats.org/officeDocument/2006/relationships/image" Target="../media/image39.png"/></Relationships>
</file>

<file path=ppt/slides/_rels/slide2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10.jpeg"/></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43.jpeg"/><Relationship Id="rId7"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9.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5.wmf"/><Relationship Id="rId7"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Gender one health and infectious disease management</a:t>
            </a:r>
          </a:p>
        </p:txBody>
      </p:sp>
      <p:sp>
        <p:nvSpPr>
          <p:cNvPr id="3" name="Text Placeholder 2"/>
          <p:cNvSpPr>
            <a:spLocks noGrp="1"/>
          </p:cNvSpPr>
          <p:nvPr>
            <p:ph type="body" idx="1"/>
          </p:nvPr>
        </p:nvSpPr>
        <p:spPr/>
        <p:txBody>
          <a:bodyPr>
            <a:normAutofit fontScale="40000" lnSpcReduction="20000"/>
          </a:bodyPr>
          <a:lstStyle/>
          <a:p>
            <a:r>
              <a:rPr lang="en-US" sz="3300" b="1" dirty="0"/>
              <a:t>One health and the drivers of disease emergence</a:t>
            </a:r>
          </a:p>
          <a:p>
            <a:r>
              <a:rPr lang="en-US" dirty="0"/>
              <a:t>Power point </a:t>
            </a:r>
            <a:r>
              <a:rPr lang="en-US" dirty="0" smtClean="0"/>
              <a:t>no2</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10422952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457200" y="536575"/>
            <a:ext cx="8458200" cy="1139825"/>
          </a:xfrm>
        </p:spPr>
        <p:txBody>
          <a:bodyPr/>
          <a:lstStyle/>
          <a:p>
            <a:pPr algn="r" eaLnBrk="1" hangingPunct="1"/>
            <a:r>
              <a:rPr lang="en-US" altLang="en-US" sz="4000">
                <a:ea typeface="ＭＳ Ｐゴシック" panose="020B0600070205080204" pitchFamily="34" charset="-128"/>
              </a:rPr>
              <a:t>Globalization and travel</a:t>
            </a:r>
          </a:p>
        </p:txBody>
      </p:sp>
      <p:pic>
        <p:nvPicPr>
          <p:cNvPr id="2150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28800" y="1676400"/>
            <a:ext cx="5459413" cy="434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5883108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457200" y="536575"/>
            <a:ext cx="8458200" cy="1139825"/>
          </a:xfrm>
        </p:spPr>
        <p:txBody>
          <a:bodyPr/>
          <a:lstStyle/>
          <a:p>
            <a:pPr algn="r" eaLnBrk="1" hangingPunct="1"/>
            <a:r>
              <a:rPr lang="en-US" altLang="en-US" sz="4000">
                <a:ea typeface="ＭＳ Ｐゴシック" panose="020B0600070205080204" pitchFamily="34" charset="-128"/>
              </a:rPr>
              <a:t>Global trade of wildlife</a:t>
            </a:r>
          </a:p>
        </p:txBody>
      </p:sp>
      <p:pic>
        <p:nvPicPr>
          <p:cNvPr id="2355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1299" y="1981200"/>
            <a:ext cx="2657475" cy="3989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6"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01901" y="1981200"/>
            <a:ext cx="2752725" cy="3989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7"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72200" y="1981200"/>
            <a:ext cx="2571750" cy="3975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30836580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685800" y="0"/>
            <a:ext cx="8458200" cy="1447800"/>
          </a:xfrm>
        </p:spPr>
        <p:txBody>
          <a:bodyPr/>
          <a:lstStyle/>
          <a:p>
            <a:pPr algn="r" eaLnBrk="1" hangingPunct="1"/>
            <a:r>
              <a:rPr lang="en-US" altLang="en-US" sz="3200">
                <a:ea typeface="ＭＳ Ｐゴシック" panose="020B0600070205080204" pitchFamily="34" charset="-128"/>
              </a:rPr>
              <a:t>Bio-Terrorism as part of the threat</a:t>
            </a:r>
          </a:p>
        </p:txBody>
      </p:sp>
      <p:pic>
        <p:nvPicPr>
          <p:cNvPr id="25603" name="Picture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800" y="1524000"/>
            <a:ext cx="77724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39541746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685800" y="0"/>
            <a:ext cx="8458200" cy="1139825"/>
          </a:xfrm>
        </p:spPr>
        <p:txBody>
          <a:bodyPr/>
          <a:lstStyle/>
          <a:p>
            <a:pPr algn="r" eaLnBrk="1" hangingPunct="1"/>
            <a:r>
              <a:rPr lang="en-US" altLang="en-US" sz="4000">
                <a:ea typeface="ＭＳ Ｐゴシック" panose="020B0600070205080204" pitchFamily="34" charset="-128"/>
              </a:rPr>
              <a:t>Human behavior</a:t>
            </a:r>
          </a:p>
        </p:txBody>
      </p:sp>
      <p:pic>
        <p:nvPicPr>
          <p:cNvPr id="27651"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1828800"/>
            <a:ext cx="4029075" cy="378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4495800" y="1371600"/>
            <a:ext cx="4343400" cy="5139869"/>
          </a:xfrm>
          <a:prstGeom prst="rect">
            <a:avLst/>
          </a:prstGeom>
          <a:noFill/>
        </p:spPr>
        <p:txBody>
          <a:bodyPr>
            <a:spAutoFit/>
          </a:bodyPr>
          <a:lstStyle/>
          <a:p>
            <a:pPr marL="285750" indent="-285750">
              <a:buFont typeface="Wingdings" panose="05000000000000000000" pitchFamily="2" charset="2"/>
              <a:buChar char="§"/>
              <a:defRPr/>
            </a:pPr>
            <a:r>
              <a:rPr lang="en-US" sz="1600" dirty="0"/>
              <a:t>Sexually transmitted diseases</a:t>
            </a:r>
          </a:p>
          <a:p>
            <a:pPr>
              <a:defRPr/>
            </a:pPr>
            <a:r>
              <a:rPr lang="en-US" sz="1600" dirty="0"/>
              <a:t>increased three fold when minimum</a:t>
            </a:r>
          </a:p>
          <a:p>
            <a:pPr>
              <a:defRPr/>
            </a:pPr>
            <a:r>
              <a:rPr lang="en-US" sz="1600" dirty="0"/>
              <a:t> age for teenagers having sex </a:t>
            </a:r>
            <a:r>
              <a:rPr lang="en-US" sz="1600" dirty="0" smtClean="0"/>
              <a:t>dropped.</a:t>
            </a:r>
            <a:endParaRPr lang="en-US" sz="1600" dirty="0"/>
          </a:p>
          <a:p>
            <a:pPr>
              <a:defRPr/>
            </a:pPr>
            <a:endParaRPr lang="en-US" sz="1600" dirty="0"/>
          </a:p>
          <a:p>
            <a:pPr marL="285750" indent="-285750">
              <a:buFont typeface="Wingdings" panose="05000000000000000000" pitchFamily="2" charset="2"/>
              <a:buChar char="§"/>
              <a:defRPr/>
            </a:pPr>
            <a:r>
              <a:rPr lang="en-US" sz="1600" dirty="0"/>
              <a:t>The development of complacent</a:t>
            </a:r>
          </a:p>
          <a:p>
            <a:pPr>
              <a:defRPr/>
            </a:pPr>
            <a:r>
              <a:rPr lang="en-US" sz="1600" dirty="0"/>
              <a:t> attitudes and lack of basic knowledge</a:t>
            </a:r>
          </a:p>
          <a:p>
            <a:pPr>
              <a:defRPr/>
            </a:pPr>
            <a:r>
              <a:rPr lang="en-US" sz="1600" dirty="0"/>
              <a:t> about risks have led to re-emergence of </a:t>
            </a:r>
          </a:p>
          <a:p>
            <a:pPr>
              <a:defRPr/>
            </a:pPr>
            <a:r>
              <a:rPr lang="en-US" sz="1600" dirty="0"/>
              <a:t>Syphilis in the </a:t>
            </a:r>
            <a:r>
              <a:rPr lang="en-US" sz="1600" dirty="0" smtClean="0"/>
              <a:t>UK.</a:t>
            </a:r>
            <a:endParaRPr lang="en-US" sz="1600" dirty="0"/>
          </a:p>
          <a:p>
            <a:pPr>
              <a:defRPr/>
            </a:pPr>
            <a:endParaRPr lang="en-US" sz="1600" dirty="0"/>
          </a:p>
          <a:p>
            <a:pPr marL="285750" indent="-285750">
              <a:buFont typeface="Wingdings" panose="05000000000000000000" pitchFamily="2" charset="2"/>
              <a:buChar char="§"/>
              <a:defRPr/>
            </a:pPr>
            <a:r>
              <a:rPr lang="en-US" sz="1600" dirty="0"/>
              <a:t>Sharing of blood contaminated</a:t>
            </a:r>
          </a:p>
          <a:p>
            <a:pPr>
              <a:defRPr/>
            </a:pPr>
            <a:r>
              <a:rPr lang="en-US" sz="1600" dirty="0"/>
              <a:t> needles by drug users has led to </a:t>
            </a:r>
          </a:p>
          <a:p>
            <a:pPr>
              <a:defRPr/>
            </a:pPr>
            <a:r>
              <a:rPr lang="en-US" sz="1600" dirty="0"/>
              <a:t>spread of hepatitis B and </a:t>
            </a:r>
            <a:r>
              <a:rPr lang="en-US" sz="1600" dirty="0" smtClean="0"/>
              <a:t>C.</a:t>
            </a:r>
            <a:endParaRPr lang="en-US" sz="1600" dirty="0"/>
          </a:p>
          <a:p>
            <a:pPr>
              <a:defRPr/>
            </a:pPr>
            <a:endParaRPr lang="en-US" sz="1600" dirty="0"/>
          </a:p>
          <a:p>
            <a:pPr marL="285750" indent="-285750">
              <a:buFont typeface="Wingdings" panose="05000000000000000000" pitchFamily="2" charset="2"/>
              <a:buChar char="§"/>
              <a:defRPr/>
            </a:pPr>
            <a:r>
              <a:rPr lang="en-US" sz="1600" dirty="0"/>
              <a:t>Increased popularity of body piercings and tattoos provides an opportunity for the spread of blood borne </a:t>
            </a:r>
            <a:r>
              <a:rPr lang="en-US" sz="1600" dirty="0" smtClean="0"/>
              <a:t>viruses.</a:t>
            </a:r>
            <a:endParaRPr lang="en-US" sz="1600" dirty="0"/>
          </a:p>
          <a:p>
            <a:pPr marL="285750" indent="-285750">
              <a:buFont typeface="Wingdings" panose="05000000000000000000" pitchFamily="2" charset="2"/>
              <a:buChar char="§"/>
              <a:defRPr/>
            </a:pPr>
            <a:endParaRPr lang="en-US" dirty="0"/>
          </a:p>
          <a:p>
            <a:pPr>
              <a:defRPr/>
            </a:pPr>
            <a:endParaRPr lang="en-US" dirty="0"/>
          </a:p>
          <a:p>
            <a:pPr>
              <a:defRPr/>
            </a:pPr>
            <a:endParaRPr lang="en-US" dirty="0"/>
          </a:p>
          <a:p>
            <a:pPr>
              <a:defRPr/>
            </a:pPr>
            <a:endParaRPr lang="en-US"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14939911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0"/>
            <a:ext cx="8991600" cy="617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3328395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152400"/>
            <a:ext cx="8839200" cy="6629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96962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r>
              <a:rPr lang="en-US" altLang="en-US">
                <a:ea typeface="ＭＳ Ｐゴシック" panose="020B0600070205080204" pitchFamily="34" charset="-128"/>
              </a:rPr>
              <a:t>Why?</a:t>
            </a:r>
          </a:p>
        </p:txBody>
      </p:sp>
      <p:sp>
        <p:nvSpPr>
          <p:cNvPr id="3" name="Content Placeholder 2"/>
          <p:cNvSpPr>
            <a:spLocks noGrp="1"/>
          </p:cNvSpPr>
          <p:nvPr>
            <p:ph idx="1"/>
          </p:nvPr>
        </p:nvSpPr>
        <p:spPr>
          <a:xfrm>
            <a:off x="1524000" y="2514600"/>
            <a:ext cx="7162800" cy="3611563"/>
          </a:xfrm>
        </p:spPr>
        <p:txBody>
          <a:bodyPr>
            <a:normAutofit lnSpcReduction="10000"/>
          </a:bodyPr>
          <a:lstStyle/>
          <a:p>
            <a:pPr>
              <a:buFont typeface="Wingdings" panose="05000000000000000000" pitchFamily="2" charset="2"/>
              <a:buChar char="Ø"/>
              <a:defRPr/>
            </a:pPr>
            <a:r>
              <a:rPr lang="en-US" dirty="0" smtClean="0"/>
              <a:t> Prevent </a:t>
            </a:r>
            <a:r>
              <a:rPr lang="en-US" dirty="0"/>
              <a:t>and </a:t>
            </a:r>
            <a:r>
              <a:rPr lang="en-US" dirty="0" smtClean="0"/>
              <a:t>respond </a:t>
            </a:r>
            <a:r>
              <a:rPr lang="en-US" dirty="0"/>
              <a:t>to disease outbreaks</a:t>
            </a:r>
          </a:p>
          <a:p>
            <a:pPr>
              <a:buFont typeface="Wingdings" panose="05000000000000000000" pitchFamily="2" charset="2"/>
              <a:buChar char="Ø"/>
              <a:defRPr/>
            </a:pPr>
            <a:endParaRPr lang="en-US" dirty="0"/>
          </a:p>
          <a:p>
            <a:pPr>
              <a:buFont typeface="Wingdings" panose="05000000000000000000" pitchFamily="2" charset="2"/>
              <a:buChar char="Ø"/>
              <a:defRPr/>
            </a:pPr>
            <a:r>
              <a:rPr lang="en-US" dirty="0" smtClean="0"/>
              <a:t> Reduce </a:t>
            </a:r>
            <a:r>
              <a:rPr lang="en-US" dirty="0"/>
              <a:t>risk of infectious diseases outbreak</a:t>
            </a:r>
          </a:p>
          <a:p>
            <a:pPr>
              <a:buFont typeface="Wingdings" panose="05000000000000000000" pitchFamily="2" charset="2"/>
              <a:buChar char="Ø"/>
              <a:defRPr/>
            </a:pPr>
            <a:endParaRPr lang="en-US" dirty="0"/>
          </a:p>
          <a:p>
            <a:pPr>
              <a:buFont typeface="Wingdings" panose="05000000000000000000" pitchFamily="2" charset="2"/>
              <a:buChar char="Ø"/>
              <a:defRPr/>
            </a:pPr>
            <a:r>
              <a:rPr lang="en-US" dirty="0" smtClean="0"/>
              <a:t> Recognize </a:t>
            </a:r>
            <a:r>
              <a:rPr lang="en-US" dirty="0"/>
              <a:t>and </a:t>
            </a:r>
            <a:r>
              <a:rPr lang="en-US" dirty="0" smtClean="0"/>
              <a:t>identify </a:t>
            </a:r>
            <a:r>
              <a:rPr lang="en-US" dirty="0"/>
              <a:t>zoonoses</a:t>
            </a:r>
          </a:p>
          <a:p>
            <a:pPr>
              <a:buFont typeface="Wingdings" panose="05000000000000000000" pitchFamily="2" charset="2"/>
              <a:buChar char="Ø"/>
              <a:defRPr/>
            </a:pPr>
            <a:endParaRPr lang="en-US" dirty="0"/>
          </a:p>
          <a:p>
            <a:pPr>
              <a:buFont typeface="Wingdings" panose="05000000000000000000" pitchFamily="2" charset="2"/>
              <a:buChar char="Ø"/>
              <a:defRPr/>
            </a:pPr>
            <a:r>
              <a:rPr lang="en-US" dirty="0" smtClean="0"/>
              <a:t> ONE </a:t>
            </a:r>
            <a:r>
              <a:rPr lang="en-US" dirty="0"/>
              <a:t>world: ONE health</a:t>
            </a:r>
          </a:p>
        </p:txBody>
      </p:sp>
      <p:pic>
        <p:nvPicPr>
          <p:cNvPr id="3174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62800" y="0"/>
            <a:ext cx="19812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23053621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381000"/>
            <a:ext cx="8861425" cy="579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37088671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457200"/>
          </a:xfrm>
        </p:spPr>
        <p:txBody>
          <a:bodyPr>
            <a:normAutofit fontScale="90000"/>
          </a:bodyPr>
          <a:lstStyle/>
          <a:p>
            <a:pPr>
              <a:defRPr/>
            </a:pPr>
            <a:r>
              <a:rPr lang="en-US" dirty="0"/>
              <a:t>One Health</a:t>
            </a:r>
          </a:p>
        </p:txBody>
      </p:sp>
      <p:sp>
        <p:nvSpPr>
          <p:cNvPr id="3" name="Content Placeholder 2"/>
          <p:cNvSpPr>
            <a:spLocks noGrp="1"/>
          </p:cNvSpPr>
          <p:nvPr>
            <p:ph idx="1"/>
          </p:nvPr>
        </p:nvSpPr>
        <p:spPr>
          <a:xfrm>
            <a:off x="1447800" y="1828800"/>
            <a:ext cx="7086600" cy="4525963"/>
          </a:xfrm>
        </p:spPr>
        <p:txBody>
          <a:bodyPr/>
          <a:lstStyle/>
          <a:p>
            <a:pPr>
              <a:spcAft>
                <a:spcPts val="1200"/>
              </a:spcAft>
            </a:pPr>
            <a:endParaRPr lang="en-US" altLang="en-US" dirty="0">
              <a:ea typeface="ＭＳ Ｐゴシック" panose="020B0600070205080204" pitchFamily="34" charset="-128"/>
            </a:endParaRPr>
          </a:p>
          <a:p>
            <a:pPr>
              <a:spcAft>
                <a:spcPts val="1200"/>
              </a:spcAft>
            </a:pPr>
            <a:r>
              <a:rPr lang="en-US" altLang="en-US" dirty="0">
                <a:ea typeface="ＭＳ Ｐゴシック" panose="020B0600070205080204" pitchFamily="34" charset="-128"/>
              </a:rPr>
              <a:t>An interdisciplinary strategy to address health from an integrated perspective rather than a discipline-based fragmented perspective ….</a:t>
            </a:r>
          </a:p>
          <a:p>
            <a:pPr>
              <a:spcAft>
                <a:spcPts val="1200"/>
              </a:spcAft>
            </a:pPr>
            <a:r>
              <a:rPr lang="en-US" altLang="en-US" dirty="0">
                <a:ea typeface="ＭＳ Ｐゴシック" panose="020B0600070205080204" pitchFamily="34" charset="-128"/>
              </a:rPr>
              <a:t>Is not a discipline, </a:t>
            </a:r>
            <a:r>
              <a:rPr lang="en-US" altLang="en-US" dirty="0" smtClean="0">
                <a:ea typeface="ＭＳ Ｐゴシック" panose="020B0600070205080204" pitchFamily="34" charset="-128"/>
              </a:rPr>
              <a:t>it is </a:t>
            </a:r>
            <a:r>
              <a:rPr lang="en-US" altLang="en-US" dirty="0">
                <a:ea typeface="ＭＳ Ｐゴシック" panose="020B0600070205080204" pitchFamily="34" charset="-128"/>
              </a:rPr>
              <a:t>an approach</a:t>
            </a:r>
          </a:p>
          <a:p>
            <a:endParaRPr lang="en-US" altLang="en-US" dirty="0">
              <a:ea typeface="ＭＳ Ｐゴシック" panose="020B0600070205080204" pitchFamily="34" charset="-128"/>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425336925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4" descr="RiverClose2"/>
          <p:cNvPicPr>
            <a:picLocks noChangeAspect="1" noChangeArrowheads="1"/>
          </p:cNvPicPr>
          <p:nvPr/>
        </p:nvPicPr>
        <p:blipFill>
          <a:blip r:embed="rId3" cstate="print">
            <a:extLst>
              <a:ext uri="{28A0092B-C50C-407E-A947-70E740481C1C}">
                <a14:useLocalDpi xmlns:a14="http://schemas.microsoft.com/office/drawing/2010/main" val="0"/>
              </a:ext>
            </a:extLst>
          </a:blip>
          <a:srcRect l="11179" t="18182" r="15044" b="24242"/>
          <a:stretch>
            <a:fillRect/>
          </a:stretch>
        </p:blipFill>
        <p:spPr bwMode="auto">
          <a:xfrm>
            <a:off x="1752600" y="762000"/>
            <a:ext cx="6019800" cy="519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Oval 1"/>
          <p:cNvSpPr/>
          <p:nvPr/>
        </p:nvSpPr>
        <p:spPr>
          <a:xfrm>
            <a:off x="3657600" y="2971800"/>
            <a:ext cx="2209800" cy="129540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a:solidFill>
                  <a:schemeClr val="accent4"/>
                </a:solidFill>
              </a:rPr>
              <a:t>One Health</a:t>
            </a: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2287867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r>
              <a:rPr lang="en-US" altLang="en-US">
                <a:ea typeface="ＭＳ Ｐゴシック" panose="020B0600070205080204" pitchFamily="34" charset="-128"/>
              </a:rPr>
              <a:t>Building bridges</a:t>
            </a:r>
          </a:p>
        </p:txBody>
      </p:sp>
      <p:sp>
        <p:nvSpPr>
          <p:cNvPr id="3" name="Content Placeholder 2"/>
          <p:cNvSpPr>
            <a:spLocks noGrp="1"/>
          </p:cNvSpPr>
          <p:nvPr>
            <p:ph idx="1"/>
          </p:nvPr>
        </p:nvSpPr>
        <p:spPr/>
        <p:txBody>
          <a:bodyPr/>
          <a:lstStyle/>
          <a:p>
            <a:pPr marL="0" indent="0">
              <a:buFont typeface="Wingdings" panose="05000000000000000000" pitchFamily="2" charset="2"/>
              <a:buNone/>
              <a:defRPr/>
            </a:pPr>
            <a:r>
              <a:rPr lang="en-US" sz="2400" dirty="0"/>
              <a:t>People understand </a:t>
            </a:r>
            <a:r>
              <a:rPr lang="en-US" sz="2400" dirty="0" smtClean="0"/>
              <a:t>bridges — they </a:t>
            </a:r>
            <a:r>
              <a:rPr lang="en-US" sz="2400" dirty="0"/>
              <a:t>get you where you’re going, erase divides and create connections.</a:t>
            </a:r>
          </a:p>
          <a:p>
            <a:pPr>
              <a:defRPr/>
            </a:pPr>
            <a:endParaRPr lang="en-US" dirty="0"/>
          </a:p>
        </p:txBody>
      </p:sp>
      <p:pic>
        <p:nvPicPr>
          <p:cNvPr id="717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3811" y="2590800"/>
            <a:ext cx="2667000" cy="325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71392" y="2595562"/>
            <a:ext cx="2695575" cy="3249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4"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54677" y="2895600"/>
            <a:ext cx="2038350" cy="2438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24124173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3113" y="787400"/>
            <a:ext cx="8153400" cy="538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1620847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pPr algn="r"/>
            <a:r>
              <a:rPr lang="en-US" altLang="en-US">
                <a:ea typeface="ＭＳ Ｐゴシック" panose="020B0600070205080204" pitchFamily="34" charset="-128"/>
              </a:rPr>
              <a:t>One health</a:t>
            </a:r>
          </a:p>
        </p:txBody>
      </p:sp>
      <p:sp>
        <p:nvSpPr>
          <p:cNvPr id="3" name="Content Placeholder 2"/>
          <p:cNvSpPr>
            <a:spLocks noGrp="1"/>
          </p:cNvSpPr>
          <p:nvPr>
            <p:ph idx="1"/>
          </p:nvPr>
        </p:nvSpPr>
        <p:spPr>
          <a:xfrm>
            <a:off x="838200" y="2362200"/>
            <a:ext cx="7693025" cy="4038600"/>
          </a:xfrm>
        </p:spPr>
        <p:txBody>
          <a:bodyPr>
            <a:normAutofit fontScale="85000" lnSpcReduction="10000"/>
          </a:bodyPr>
          <a:lstStyle/>
          <a:p>
            <a:pPr>
              <a:defRPr/>
            </a:pPr>
            <a:r>
              <a:rPr lang="en-US" sz="2400" dirty="0" smtClean="0"/>
              <a:t>Human, livestock </a:t>
            </a:r>
            <a:r>
              <a:rPr lang="en-US" sz="2400" dirty="0"/>
              <a:t>or wildlife health cannot be discussed in isolation </a:t>
            </a:r>
            <a:r>
              <a:rPr lang="en-US" sz="2400" dirty="0" smtClean="0"/>
              <a:t>anymore.</a:t>
            </a:r>
            <a:endParaRPr lang="en-US" sz="2400" dirty="0"/>
          </a:p>
          <a:p>
            <a:pPr marL="0" indent="0">
              <a:buFont typeface="Wingdings" panose="05000000000000000000" pitchFamily="2" charset="2"/>
              <a:buNone/>
              <a:defRPr/>
            </a:pPr>
            <a:endParaRPr lang="en-US" sz="2400" i="1" dirty="0"/>
          </a:p>
          <a:p>
            <a:pPr>
              <a:defRPr/>
            </a:pPr>
            <a:r>
              <a:rPr lang="en-US" sz="2400" dirty="0" smtClean="0"/>
              <a:t>Public </a:t>
            </a:r>
            <a:r>
              <a:rPr lang="en-US" sz="2400" dirty="0"/>
              <a:t>health depends on a clean environment: Hippocrates</a:t>
            </a:r>
          </a:p>
          <a:p>
            <a:pPr marL="0" indent="0">
              <a:buFont typeface="Wingdings" panose="05000000000000000000" pitchFamily="2" charset="2"/>
              <a:buNone/>
              <a:defRPr/>
            </a:pPr>
            <a:endParaRPr lang="en-US" sz="2400" dirty="0"/>
          </a:p>
          <a:p>
            <a:pPr>
              <a:defRPr/>
            </a:pPr>
            <a:r>
              <a:rPr lang="en-US" sz="2400" dirty="0"/>
              <a:t>Objective of OH approach is to create </a:t>
            </a:r>
            <a:r>
              <a:rPr lang="en-US" sz="2400" dirty="0" smtClean="0"/>
              <a:t>stronger, </a:t>
            </a:r>
            <a:r>
              <a:rPr lang="en-US" sz="2400" dirty="0"/>
              <a:t>more </a:t>
            </a:r>
            <a:r>
              <a:rPr lang="en-US" sz="2400" dirty="0" smtClean="0"/>
              <a:t>efficient, </a:t>
            </a:r>
            <a:r>
              <a:rPr lang="en-US" sz="2400" dirty="0"/>
              <a:t>integrated health systems with input from multiple stakeholders in addressing global health issues</a:t>
            </a:r>
          </a:p>
          <a:p>
            <a:pPr marL="0" indent="0">
              <a:buFont typeface="Wingdings" panose="05000000000000000000" pitchFamily="2" charset="2"/>
              <a:buNone/>
              <a:defRPr/>
            </a:pPr>
            <a:r>
              <a:rPr lang="en-US" sz="2400" dirty="0"/>
              <a:t> </a:t>
            </a:r>
          </a:p>
          <a:p>
            <a:pPr>
              <a:defRPr/>
            </a:pPr>
            <a:endParaRPr lang="en-US" sz="2400" i="1" dirty="0"/>
          </a:p>
          <a:p>
            <a:pPr marL="0" indent="0">
              <a:buFont typeface="Wingdings" panose="05000000000000000000" pitchFamily="2" charset="2"/>
              <a:buNone/>
              <a:defRPr/>
            </a:pPr>
            <a:endParaRPr lang="en-US" sz="2400" i="1"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29652715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pPr algn="r"/>
            <a:r>
              <a:rPr lang="en-US" altLang="en-US" dirty="0">
                <a:ea typeface="ＭＳ Ｐゴシック" panose="020B0600070205080204" pitchFamily="34" charset="-128"/>
              </a:rPr>
              <a:t>Scope of one health</a:t>
            </a:r>
          </a:p>
        </p:txBody>
      </p:sp>
      <p:sp>
        <p:nvSpPr>
          <p:cNvPr id="3" name="Content Placeholder 2"/>
          <p:cNvSpPr>
            <a:spLocks noGrp="1"/>
          </p:cNvSpPr>
          <p:nvPr>
            <p:ph idx="1"/>
          </p:nvPr>
        </p:nvSpPr>
        <p:spPr>
          <a:xfrm>
            <a:off x="838200" y="2362200"/>
            <a:ext cx="7693025" cy="4038600"/>
          </a:xfrm>
        </p:spPr>
        <p:txBody>
          <a:bodyPr>
            <a:normAutofit fontScale="85000" lnSpcReduction="10000"/>
          </a:bodyPr>
          <a:lstStyle/>
          <a:p>
            <a:pPr marL="0" indent="0">
              <a:buFont typeface="Wingdings" panose="05000000000000000000" pitchFamily="2" charset="2"/>
              <a:buNone/>
              <a:defRPr/>
            </a:pPr>
            <a:r>
              <a:rPr lang="en-US" sz="2000" dirty="0" smtClean="0"/>
              <a:t>Combating </a:t>
            </a:r>
            <a:r>
              <a:rPr lang="en-US" sz="2000" dirty="0"/>
              <a:t>existing and emerging diseases and zoonosis, biomedical research and clinical medicine, conservation medicine, </a:t>
            </a:r>
            <a:r>
              <a:rPr lang="en-US" sz="2000" dirty="0" smtClean="0"/>
              <a:t>diagnosis, surveillance</a:t>
            </a:r>
            <a:r>
              <a:rPr lang="en-US" sz="2000" dirty="0"/>
              <a:t>, </a:t>
            </a:r>
            <a:r>
              <a:rPr lang="en-US" sz="2000" dirty="0" smtClean="0"/>
              <a:t>control, </a:t>
            </a:r>
            <a:r>
              <a:rPr lang="en-US" sz="2000" dirty="0"/>
              <a:t>response and recovery directed at natural and or intentional threats that are chemical , toxicological or radiological in nature, ethics, </a:t>
            </a:r>
            <a:r>
              <a:rPr lang="en-US" sz="2000" dirty="0" smtClean="0"/>
              <a:t>entomology, </a:t>
            </a:r>
            <a:r>
              <a:rPr lang="en-US" sz="2000" dirty="0"/>
              <a:t>food safety and security, global food and water systems, global trade and commerce, health of the environment and environmental conservation, implications of climate change, infectious disease ecology and integrated systems for disease detection, land use production systems and practice, mental  and occupational health, public </a:t>
            </a:r>
            <a:r>
              <a:rPr lang="en-US" sz="2000" dirty="0" smtClean="0"/>
              <a:t>health, </a:t>
            </a:r>
            <a:r>
              <a:rPr lang="en-US" sz="2000" dirty="0"/>
              <a:t>awareness and communication, support of biodiversity, wildlife  promotion and </a:t>
            </a:r>
            <a:r>
              <a:rPr lang="en-US" sz="2000" dirty="0" smtClean="0"/>
              <a:t>conservation.</a:t>
            </a:r>
            <a:endParaRPr lang="en-US" sz="2000" dirty="0"/>
          </a:p>
          <a:p>
            <a:pPr marL="0" indent="0">
              <a:buFont typeface="Wingdings" panose="05000000000000000000" pitchFamily="2" charset="2"/>
              <a:buNone/>
              <a:defRPr/>
            </a:pPr>
            <a:endParaRPr lang="en-US" sz="2400" i="1" dirty="0"/>
          </a:p>
          <a:p>
            <a:pPr marL="0" indent="0">
              <a:buFont typeface="Wingdings" panose="05000000000000000000" pitchFamily="2" charset="2"/>
              <a:buNone/>
              <a:defRPr/>
            </a:pPr>
            <a:r>
              <a:rPr lang="en-US" sz="2400" dirty="0"/>
              <a:t> </a:t>
            </a:r>
          </a:p>
          <a:p>
            <a:pPr>
              <a:defRPr/>
            </a:pPr>
            <a:endParaRPr lang="en-US" sz="2400" i="1" dirty="0"/>
          </a:p>
          <a:p>
            <a:pPr marL="0" indent="0">
              <a:buFont typeface="Wingdings" panose="05000000000000000000" pitchFamily="2" charset="2"/>
              <a:buNone/>
              <a:defRPr/>
            </a:pPr>
            <a:endParaRPr lang="en-US" sz="2400" i="1"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10975163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Oval 66"/>
          <p:cNvSpPr/>
          <p:nvPr/>
        </p:nvSpPr>
        <p:spPr>
          <a:xfrm>
            <a:off x="1454150" y="903288"/>
            <a:ext cx="6126163" cy="5930900"/>
          </a:xfrm>
          <a:prstGeom prst="ellipse">
            <a:avLst/>
          </a:prstGeom>
          <a:solidFill>
            <a:schemeClr val="accent3">
              <a:lumMod val="2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3" name="Oval 42"/>
          <p:cNvSpPr/>
          <p:nvPr/>
        </p:nvSpPr>
        <p:spPr>
          <a:xfrm>
            <a:off x="1922463" y="1346200"/>
            <a:ext cx="5199062" cy="4994275"/>
          </a:xfrm>
          <a:prstGeom prst="ellipse">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2" name="Oval 61"/>
          <p:cNvSpPr/>
          <p:nvPr/>
        </p:nvSpPr>
        <p:spPr>
          <a:xfrm>
            <a:off x="3749675" y="3675063"/>
            <a:ext cx="1611313" cy="1587500"/>
          </a:xfrm>
          <a:prstGeom prst="ellipse">
            <a:avLst/>
          </a:prstGeom>
          <a:solidFill>
            <a:schemeClr val="accent2">
              <a:alpha val="57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1" name="Oval 60"/>
          <p:cNvSpPr/>
          <p:nvPr/>
        </p:nvSpPr>
        <p:spPr>
          <a:xfrm>
            <a:off x="4376738" y="2636838"/>
            <a:ext cx="1611312" cy="1589087"/>
          </a:xfrm>
          <a:prstGeom prst="ellipse">
            <a:avLst/>
          </a:prstGeom>
          <a:solidFill>
            <a:schemeClr val="accent2">
              <a:alpha val="42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39942" name="Title 1"/>
          <p:cNvSpPr>
            <a:spLocks noGrp="1"/>
          </p:cNvSpPr>
          <p:nvPr>
            <p:ph type="title"/>
          </p:nvPr>
        </p:nvSpPr>
        <p:spPr>
          <a:xfrm>
            <a:off x="1168400" y="119856"/>
            <a:ext cx="6508750" cy="741363"/>
          </a:xfrm>
        </p:spPr>
        <p:txBody>
          <a:bodyPr>
            <a:normAutofit fontScale="90000"/>
          </a:bodyPr>
          <a:lstStyle/>
          <a:p>
            <a:r>
              <a:rPr lang="en-US" altLang="en-US" sz="2000" dirty="0">
                <a:ea typeface="ＭＳ Ｐゴシック" panose="020B0600070205080204" pitchFamily="34" charset="-128"/>
              </a:rPr>
              <a:t>Animal science, human health, and environmental science are at the core of One Health </a:t>
            </a:r>
          </a:p>
        </p:txBody>
      </p:sp>
      <p:sp>
        <p:nvSpPr>
          <p:cNvPr id="8" name="Oval 7"/>
          <p:cNvSpPr/>
          <p:nvPr/>
        </p:nvSpPr>
        <p:spPr>
          <a:xfrm>
            <a:off x="3068638" y="2624138"/>
            <a:ext cx="1611312" cy="1589087"/>
          </a:xfrm>
          <a:prstGeom prst="ellipse">
            <a:avLst/>
          </a:prstGeom>
          <a:solidFill>
            <a:schemeClr val="accent2">
              <a:alpha val="7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3" name="Rectangle 22"/>
          <p:cNvSpPr/>
          <p:nvPr/>
        </p:nvSpPr>
        <p:spPr>
          <a:xfrm>
            <a:off x="4703763" y="3216275"/>
            <a:ext cx="992187" cy="46196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t>Animal health</a:t>
            </a:r>
          </a:p>
        </p:txBody>
      </p:sp>
      <p:sp>
        <p:nvSpPr>
          <p:cNvPr id="24" name="Rectangle 23"/>
          <p:cNvSpPr/>
          <p:nvPr/>
        </p:nvSpPr>
        <p:spPr>
          <a:xfrm>
            <a:off x="3375025" y="3216275"/>
            <a:ext cx="992188" cy="46196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t>Human health</a:t>
            </a:r>
          </a:p>
        </p:txBody>
      </p:sp>
      <p:sp>
        <p:nvSpPr>
          <p:cNvPr id="26" name="Rectangle 25"/>
          <p:cNvSpPr/>
          <p:nvPr/>
        </p:nvSpPr>
        <p:spPr>
          <a:xfrm>
            <a:off x="3640138" y="4327525"/>
            <a:ext cx="1785937" cy="46037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t>Environmental</a:t>
            </a:r>
          </a:p>
          <a:p>
            <a:pPr algn="ctr">
              <a:defRPr/>
            </a:pPr>
            <a:r>
              <a:rPr lang="en-US" dirty="0"/>
              <a:t>health</a:t>
            </a:r>
          </a:p>
        </p:txBody>
      </p:sp>
      <p:sp>
        <p:nvSpPr>
          <p:cNvPr id="39947" name="TextBox 26"/>
          <p:cNvSpPr txBox="1">
            <a:spLocks noChangeArrowheads="1"/>
          </p:cNvSpPr>
          <p:nvPr/>
        </p:nvSpPr>
        <p:spPr bwMode="auto">
          <a:xfrm>
            <a:off x="1757363" y="3176588"/>
            <a:ext cx="1414462"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Water </a:t>
            </a:r>
          </a:p>
          <a:p>
            <a:pPr algn="ctr">
              <a:spcBef>
                <a:spcPct val="0"/>
              </a:spcBef>
              <a:buClrTx/>
              <a:buSzTx/>
              <a:buFontTx/>
              <a:buNone/>
            </a:pPr>
            <a:r>
              <a:rPr lang="en-US" altLang="en-US" sz="1300"/>
              <a:t>sanitation &amp; hygiene</a:t>
            </a:r>
          </a:p>
        </p:txBody>
      </p:sp>
      <p:sp>
        <p:nvSpPr>
          <p:cNvPr id="39948" name="TextBox 28"/>
          <p:cNvSpPr txBox="1">
            <a:spLocks noChangeArrowheads="1"/>
          </p:cNvSpPr>
          <p:nvPr/>
        </p:nvSpPr>
        <p:spPr bwMode="auto">
          <a:xfrm>
            <a:off x="2081213" y="2486025"/>
            <a:ext cx="142557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Food safety &amp; security </a:t>
            </a:r>
          </a:p>
        </p:txBody>
      </p:sp>
      <p:sp>
        <p:nvSpPr>
          <p:cNvPr id="39949" name="TextBox 29"/>
          <p:cNvSpPr txBox="1">
            <a:spLocks noChangeArrowheads="1"/>
          </p:cNvSpPr>
          <p:nvPr/>
        </p:nvSpPr>
        <p:spPr bwMode="auto">
          <a:xfrm>
            <a:off x="3241675" y="5653088"/>
            <a:ext cx="142398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Sustainable Agriculture</a:t>
            </a:r>
          </a:p>
        </p:txBody>
      </p:sp>
      <p:sp>
        <p:nvSpPr>
          <p:cNvPr id="39950" name="TextBox 30"/>
          <p:cNvSpPr txBox="1">
            <a:spLocks noChangeArrowheads="1"/>
          </p:cNvSpPr>
          <p:nvPr/>
        </p:nvSpPr>
        <p:spPr bwMode="auto">
          <a:xfrm>
            <a:off x="2481263" y="5391150"/>
            <a:ext cx="142557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Policy </a:t>
            </a:r>
          </a:p>
        </p:txBody>
      </p:sp>
      <p:sp>
        <p:nvSpPr>
          <p:cNvPr id="39951" name="TextBox 31"/>
          <p:cNvSpPr txBox="1">
            <a:spLocks noChangeArrowheads="1"/>
          </p:cNvSpPr>
          <p:nvPr/>
        </p:nvSpPr>
        <p:spPr bwMode="auto">
          <a:xfrm>
            <a:off x="5237163" y="4787900"/>
            <a:ext cx="142557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Climate change </a:t>
            </a:r>
          </a:p>
        </p:txBody>
      </p:sp>
      <p:sp>
        <p:nvSpPr>
          <p:cNvPr id="39952" name="TextBox 34"/>
          <p:cNvSpPr txBox="1">
            <a:spLocks noChangeArrowheads="1"/>
          </p:cNvSpPr>
          <p:nvPr/>
        </p:nvSpPr>
        <p:spPr bwMode="auto">
          <a:xfrm>
            <a:off x="2212975" y="4783138"/>
            <a:ext cx="14255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Clean energy</a:t>
            </a:r>
          </a:p>
          <a:p>
            <a:pPr algn="ctr">
              <a:spcBef>
                <a:spcPct val="0"/>
              </a:spcBef>
              <a:buClrTx/>
              <a:buSzTx/>
              <a:buFontTx/>
              <a:buNone/>
            </a:pPr>
            <a:r>
              <a:rPr lang="en-US" altLang="en-US" sz="1300"/>
              <a:t>solutions </a:t>
            </a:r>
          </a:p>
        </p:txBody>
      </p:sp>
      <p:sp>
        <p:nvSpPr>
          <p:cNvPr id="39953" name="TextBox 35"/>
          <p:cNvSpPr txBox="1">
            <a:spLocks noChangeArrowheads="1"/>
          </p:cNvSpPr>
          <p:nvPr/>
        </p:nvSpPr>
        <p:spPr bwMode="auto">
          <a:xfrm>
            <a:off x="1841500" y="4081463"/>
            <a:ext cx="142557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Urbanization</a:t>
            </a:r>
          </a:p>
        </p:txBody>
      </p:sp>
      <p:sp>
        <p:nvSpPr>
          <p:cNvPr id="39954" name="TextBox 36"/>
          <p:cNvSpPr txBox="1">
            <a:spLocks noChangeArrowheads="1"/>
          </p:cNvSpPr>
          <p:nvPr/>
        </p:nvSpPr>
        <p:spPr bwMode="auto">
          <a:xfrm>
            <a:off x="4406900" y="1724025"/>
            <a:ext cx="142557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Occupational health</a:t>
            </a:r>
          </a:p>
        </p:txBody>
      </p:sp>
      <p:sp>
        <p:nvSpPr>
          <p:cNvPr id="39955" name="TextBox 38"/>
          <p:cNvSpPr txBox="1">
            <a:spLocks noChangeArrowheads="1"/>
          </p:cNvSpPr>
          <p:nvPr/>
        </p:nvSpPr>
        <p:spPr bwMode="auto">
          <a:xfrm>
            <a:off x="5695950" y="3868738"/>
            <a:ext cx="142557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Biotechnology</a:t>
            </a:r>
          </a:p>
        </p:txBody>
      </p:sp>
      <p:sp>
        <p:nvSpPr>
          <p:cNvPr id="39956" name="TextBox 39"/>
          <p:cNvSpPr txBox="1">
            <a:spLocks noChangeArrowheads="1"/>
          </p:cNvSpPr>
          <p:nvPr/>
        </p:nvSpPr>
        <p:spPr bwMode="auto">
          <a:xfrm>
            <a:off x="5149850" y="2181225"/>
            <a:ext cx="14255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Disease surveillance</a:t>
            </a:r>
          </a:p>
        </p:txBody>
      </p:sp>
      <p:sp>
        <p:nvSpPr>
          <p:cNvPr id="39957" name="TextBox 40"/>
          <p:cNvSpPr txBox="1">
            <a:spLocks noChangeArrowheads="1"/>
          </p:cNvSpPr>
          <p:nvPr/>
        </p:nvSpPr>
        <p:spPr bwMode="auto">
          <a:xfrm>
            <a:off x="5780088" y="2816225"/>
            <a:ext cx="142557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Zoonotic </a:t>
            </a:r>
          </a:p>
          <a:p>
            <a:pPr algn="ctr">
              <a:spcBef>
                <a:spcPct val="0"/>
              </a:spcBef>
              <a:buClrTx/>
              <a:buSzTx/>
              <a:buFontTx/>
              <a:buNone/>
            </a:pPr>
            <a:r>
              <a:rPr lang="en-US" altLang="en-US" sz="1300"/>
              <a:t>disease management </a:t>
            </a:r>
          </a:p>
        </p:txBody>
      </p:sp>
      <p:sp>
        <p:nvSpPr>
          <p:cNvPr id="39958" name="TextBox 41"/>
          <p:cNvSpPr txBox="1">
            <a:spLocks noChangeArrowheads="1"/>
          </p:cNvSpPr>
          <p:nvPr/>
        </p:nvSpPr>
        <p:spPr bwMode="auto">
          <a:xfrm>
            <a:off x="2827338" y="1798638"/>
            <a:ext cx="1668462"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Vector born disease and entomology</a:t>
            </a:r>
          </a:p>
        </p:txBody>
      </p:sp>
      <p:sp>
        <p:nvSpPr>
          <p:cNvPr id="39959" name="TextBox 67"/>
          <p:cNvSpPr txBox="1">
            <a:spLocks noChangeArrowheads="1"/>
          </p:cNvSpPr>
          <p:nvPr/>
        </p:nvSpPr>
        <p:spPr bwMode="auto">
          <a:xfrm rot="3870230">
            <a:off x="6015038" y="2514600"/>
            <a:ext cx="197008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600">
                <a:solidFill>
                  <a:schemeClr val="bg1"/>
                </a:solidFill>
              </a:rPr>
              <a:t>Education</a:t>
            </a:r>
          </a:p>
        </p:txBody>
      </p:sp>
      <p:sp>
        <p:nvSpPr>
          <p:cNvPr id="39960" name="TextBox 68"/>
          <p:cNvSpPr txBox="1">
            <a:spLocks noChangeArrowheads="1"/>
          </p:cNvSpPr>
          <p:nvPr/>
        </p:nvSpPr>
        <p:spPr bwMode="auto">
          <a:xfrm rot="-2448283">
            <a:off x="1757363" y="1454150"/>
            <a:ext cx="1966912"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600">
                <a:solidFill>
                  <a:schemeClr val="bg1"/>
                </a:solidFill>
              </a:rPr>
              <a:t>Workforce Development</a:t>
            </a:r>
          </a:p>
        </p:txBody>
      </p:sp>
      <p:sp>
        <p:nvSpPr>
          <p:cNvPr id="39961" name="TextBox 69"/>
          <p:cNvSpPr txBox="1">
            <a:spLocks noChangeArrowheads="1"/>
          </p:cNvSpPr>
          <p:nvPr/>
        </p:nvSpPr>
        <p:spPr bwMode="auto">
          <a:xfrm rot="3364124">
            <a:off x="1234282" y="5199856"/>
            <a:ext cx="197008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600">
                <a:solidFill>
                  <a:schemeClr val="bg1"/>
                </a:solidFill>
              </a:rPr>
              <a:t>Research</a:t>
            </a:r>
          </a:p>
        </p:txBody>
      </p:sp>
      <p:sp>
        <p:nvSpPr>
          <p:cNvPr id="39962" name="TextBox 27"/>
          <p:cNvSpPr txBox="1">
            <a:spLocks noChangeArrowheads="1"/>
          </p:cNvSpPr>
          <p:nvPr/>
        </p:nvSpPr>
        <p:spPr bwMode="auto">
          <a:xfrm rot="-2555266">
            <a:off x="5384800" y="5632450"/>
            <a:ext cx="1966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600">
                <a:solidFill>
                  <a:schemeClr val="bg1"/>
                </a:solidFill>
              </a:rPr>
              <a:t>Community </a:t>
            </a:r>
          </a:p>
        </p:txBody>
      </p:sp>
      <p:sp>
        <p:nvSpPr>
          <p:cNvPr id="33" name="Rectangle 32"/>
          <p:cNvSpPr/>
          <p:nvPr/>
        </p:nvSpPr>
        <p:spPr>
          <a:xfrm>
            <a:off x="120650" y="5216525"/>
            <a:ext cx="1647825" cy="381000"/>
          </a:xfrm>
          <a:prstGeom prst="rect">
            <a:avLst/>
          </a:prstGeom>
          <a:solidFill>
            <a:schemeClr val="tx1">
              <a:lumMod val="75000"/>
              <a:lumOff val="25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200" dirty="0"/>
              <a:t>How we enter One Health  </a:t>
            </a:r>
          </a:p>
        </p:txBody>
      </p:sp>
      <p:sp>
        <p:nvSpPr>
          <p:cNvPr id="34" name="Rectangle 33"/>
          <p:cNvSpPr/>
          <p:nvPr/>
        </p:nvSpPr>
        <p:spPr>
          <a:xfrm>
            <a:off x="120650" y="5727700"/>
            <a:ext cx="1647825" cy="381000"/>
          </a:xfrm>
          <a:prstGeom prst="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200" dirty="0">
                <a:solidFill>
                  <a:schemeClr val="tx1"/>
                </a:solidFill>
              </a:rPr>
              <a:t>Areas of focus within One health</a:t>
            </a:r>
          </a:p>
        </p:txBody>
      </p:sp>
      <p:sp>
        <p:nvSpPr>
          <p:cNvPr id="38" name="Rectangle 37"/>
          <p:cNvSpPr/>
          <p:nvPr/>
        </p:nvSpPr>
        <p:spPr>
          <a:xfrm>
            <a:off x="120650" y="6237288"/>
            <a:ext cx="1647825" cy="381000"/>
          </a:xfrm>
          <a:prstGeom prst="rect">
            <a:avLst/>
          </a:prstGeom>
          <a:solidFill>
            <a:schemeClr val="tx2"/>
          </a:solidFill>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200" dirty="0"/>
              <a:t>Who is involved</a:t>
            </a:r>
          </a:p>
        </p:txBody>
      </p:sp>
      <p:sp>
        <p:nvSpPr>
          <p:cNvPr id="39966" name="TextBox 43"/>
          <p:cNvSpPr txBox="1">
            <a:spLocks noChangeArrowheads="1"/>
          </p:cNvSpPr>
          <p:nvPr/>
        </p:nvSpPr>
        <p:spPr bwMode="auto">
          <a:xfrm>
            <a:off x="5200650" y="5254625"/>
            <a:ext cx="1425575" cy="29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Biosecurity</a:t>
            </a:r>
          </a:p>
        </p:txBody>
      </p:sp>
      <p:sp>
        <p:nvSpPr>
          <p:cNvPr id="39967" name="TextBox 44"/>
          <p:cNvSpPr txBox="1">
            <a:spLocks noChangeArrowheads="1"/>
          </p:cNvSpPr>
          <p:nvPr/>
        </p:nvSpPr>
        <p:spPr bwMode="auto">
          <a:xfrm>
            <a:off x="4422775" y="5570538"/>
            <a:ext cx="14255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300"/>
              <a:t>Anti-microbial resistance</a:t>
            </a:r>
          </a:p>
        </p:txBody>
      </p:sp>
      <p:sp>
        <p:nvSpPr>
          <p:cNvPr id="3" name="Rectangular Callout 2"/>
          <p:cNvSpPr/>
          <p:nvPr/>
        </p:nvSpPr>
        <p:spPr>
          <a:xfrm>
            <a:off x="5984875" y="717550"/>
            <a:ext cx="2808288" cy="1331913"/>
          </a:xfrm>
          <a:prstGeom prst="wedgeRectCallout">
            <a:avLst>
              <a:gd name="adj1" fmla="val -42848"/>
              <a:gd name="adj2" fmla="val 87236"/>
            </a:avLst>
          </a:prstGeom>
          <a:solidFill>
            <a:schemeClr val="bg1"/>
          </a:solidFill>
        </p:spPr>
        <p:style>
          <a:lnRef idx="1">
            <a:schemeClr val="accent1"/>
          </a:lnRef>
          <a:fillRef idx="3">
            <a:schemeClr val="accent1"/>
          </a:fillRef>
          <a:effectRef idx="2">
            <a:schemeClr val="accent1"/>
          </a:effectRef>
          <a:fontRef idx="minor">
            <a:schemeClr val="lt1"/>
          </a:fontRef>
        </p:style>
        <p:txBody>
          <a:bodyPr anchor="ctr"/>
          <a:lstStyle/>
          <a:p>
            <a:pPr>
              <a:defRPr/>
            </a:pPr>
            <a:r>
              <a:rPr lang="en-US" sz="1300" b="1" dirty="0">
                <a:solidFill>
                  <a:schemeClr val="tx1"/>
                </a:solidFill>
              </a:rPr>
              <a:t>Drivers of One Health include</a:t>
            </a:r>
            <a:r>
              <a:rPr lang="en-US" sz="1300" dirty="0">
                <a:solidFill>
                  <a:schemeClr val="tx1"/>
                </a:solidFill>
              </a:rPr>
              <a:t>…</a:t>
            </a:r>
          </a:p>
          <a:p>
            <a:pPr marL="285750" indent="-285750">
              <a:buFont typeface="Arial" panose="020B0604020202020204" pitchFamily="34" charset="0"/>
              <a:buChar char="•"/>
              <a:defRPr/>
            </a:pPr>
            <a:r>
              <a:rPr lang="en-US" sz="1300" dirty="0">
                <a:solidFill>
                  <a:schemeClr val="tx1"/>
                </a:solidFill>
              </a:rPr>
              <a:t>Land Use</a:t>
            </a:r>
          </a:p>
          <a:p>
            <a:pPr marL="285750" indent="-285750">
              <a:buFont typeface="Arial" panose="020B0604020202020204" pitchFamily="34" charset="0"/>
              <a:buChar char="•"/>
              <a:defRPr/>
            </a:pPr>
            <a:r>
              <a:rPr lang="en-US" sz="1300" dirty="0">
                <a:solidFill>
                  <a:schemeClr val="tx1"/>
                </a:solidFill>
              </a:rPr>
              <a:t>Economic Development</a:t>
            </a:r>
          </a:p>
          <a:p>
            <a:pPr marL="285750" indent="-285750">
              <a:buFont typeface="Arial" panose="020B0604020202020204" pitchFamily="34" charset="0"/>
              <a:buChar char="•"/>
              <a:defRPr/>
            </a:pPr>
            <a:r>
              <a:rPr lang="en-US" sz="1300" dirty="0">
                <a:solidFill>
                  <a:schemeClr val="tx1"/>
                </a:solidFill>
              </a:rPr>
              <a:t>Globalization</a:t>
            </a:r>
          </a:p>
          <a:p>
            <a:pPr marL="285750" indent="-285750">
              <a:buFont typeface="Arial" panose="020B0604020202020204" pitchFamily="34" charset="0"/>
              <a:buChar char="•"/>
              <a:defRPr/>
            </a:pPr>
            <a:r>
              <a:rPr lang="en-US" sz="1300" dirty="0">
                <a:solidFill>
                  <a:schemeClr val="tx1"/>
                </a:solidFill>
              </a:rPr>
              <a:t>Energy Use</a:t>
            </a:r>
          </a:p>
          <a:p>
            <a:pPr marL="285750" indent="-285750">
              <a:buFont typeface="Arial" panose="020B0604020202020204" pitchFamily="34" charset="0"/>
              <a:buChar char="•"/>
              <a:defRPr/>
            </a:pPr>
            <a:r>
              <a:rPr lang="en-US" sz="1300" dirty="0">
                <a:solidFill>
                  <a:schemeClr val="tx1"/>
                </a:solidFill>
              </a:rPr>
              <a:t>Migration </a:t>
            </a:r>
            <a:endParaRPr lang="en-US" sz="1400" dirty="0"/>
          </a:p>
        </p:txBody>
      </p:sp>
      <p:sp>
        <p:nvSpPr>
          <p:cNvPr id="47" name="Rectangular Callout 46"/>
          <p:cNvSpPr/>
          <p:nvPr/>
        </p:nvSpPr>
        <p:spPr>
          <a:xfrm>
            <a:off x="80963" y="1074738"/>
            <a:ext cx="2030412" cy="1585912"/>
          </a:xfrm>
          <a:prstGeom prst="wedgeRectCallout">
            <a:avLst>
              <a:gd name="adj1" fmla="val 41431"/>
              <a:gd name="adj2" fmla="val 63557"/>
            </a:avLst>
          </a:prstGeom>
          <a:solidFill>
            <a:schemeClr val="bg1"/>
          </a:solidFill>
        </p:spPr>
        <p:style>
          <a:lnRef idx="1">
            <a:schemeClr val="accent1"/>
          </a:lnRef>
          <a:fillRef idx="3">
            <a:schemeClr val="accent1"/>
          </a:fillRef>
          <a:effectRef idx="2">
            <a:schemeClr val="accent1"/>
          </a:effectRef>
          <a:fontRef idx="minor">
            <a:schemeClr val="lt1"/>
          </a:fontRef>
        </p:style>
        <p:txBody>
          <a:bodyPr anchor="ctr"/>
          <a:lstStyle/>
          <a:p>
            <a:pPr>
              <a:defRPr/>
            </a:pPr>
            <a:r>
              <a:rPr lang="en-US" sz="1300" b="1" dirty="0">
                <a:solidFill>
                  <a:schemeClr val="tx1"/>
                </a:solidFill>
              </a:rPr>
              <a:t>Influences of One Health include</a:t>
            </a:r>
            <a:r>
              <a:rPr lang="en-US" sz="1300" dirty="0">
                <a:solidFill>
                  <a:schemeClr val="tx1"/>
                </a:solidFill>
              </a:rPr>
              <a:t>…</a:t>
            </a:r>
          </a:p>
          <a:p>
            <a:pPr marL="285750" indent="-285750">
              <a:buFont typeface="Arial" panose="020B0604020202020204" pitchFamily="34" charset="0"/>
              <a:buChar char="•"/>
              <a:defRPr/>
            </a:pPr>
            <a:r>
              <a:rPr lang="en-US" sz="1300" dirty="0">
                <a:solidFill>
                  <a:schemeClr val="tx1"/>
                </a:solidFill>
              </a:rPr>
              <a:t>Culture</a:t>
            </a:r>
          </a:p>
          <a:p>
            <a:pPr marL="285750" indent="-285750">
              <a:buFont typeface="Arial" panose="020B0604020202020204" pitchFamily="34" charset="0"/>
              <a:buChar char="•"/>
              <a:defRPr/>
            </a:pPr>
            <a:r>
              <a:rPr lang="en-US" sz="1300" dirty="0">
                <a:solidFill>
                  <a:schemeClr val="tx1"/>
                </a:solidFill>
              </a:rPr>
              <a:t>Economics</a:t>
            </a:r>
          </a:p>
          <a:p>
            <a:pPr marL="285750" indent="-285750">
              <a:buFont typeface="Arial" panose="020B0604020202020204" pitchFamily="34" charset="0"/>
              <a:buChar char="•"/>
              <a:defRPr/>
            </a:pPr>
            <a:r>
              <a:rPr lang="en-US" sz="1300" dirty="0">
                <a:solidFill>
                  <a:schemeClr val="tx1"/>
                </a:solidFill>
              </a:rPr>
              <a:t>Policy</a:t>
            </a:r>
          </a:p>
          <a:p>
            <a:pPr marL="285750" indent="-285750">
              <a:buFont typeface="Arial" panose="020B0604020202020204" pitchFamily="34" charset="0"/>
              <a:buChar char="•"/>
              <a:defRPr/>
            </a:pPr>
            <a:r>
              <a:rPr lang="en-US" sz="1300" dirty="0">
                <a:solidFill>
                  <a:schemeClr val="tx1"/>
                </a:solidFill>
              </a:rPr>
              <a:t>Behavior</a:t>
            </a:r>
          </a:p>
          <a:p>
            <a:pPr marL="285750" indent="-285750">
              <a:buFont typeface="Arial" panose="020B0604020202020204" pitchFamily="34" charset="0"/>
              <a:buChar char="•"/>
              <a:defRPr/>
            </a:pPr>
            <a:r>
              <a:rPr lang="en-US" sz="1300" dirty="0">
                <a:solidFill>
                  <a:schemeClr val="tx1"/>
                </a:solidFill>
              </a:rPr>
              <a:t>Education </a:t>
            </a:r>
            <a:endParaRPr lang="en-US" sz="1400" dirty="0"/>
          </a:p>
        </p:txBody>
      </p:sp>
      <p:sp>
        <p:nvSpPr>
          <p:cNvPr id="48" name="Rectangular Callout 47"/>
          <p:cNvSpPr/>
          <p:nvPr/>
        </p:nvSpPr>
        <p:spPr>
          <a:xfrm>
            <a:off x="6945313" y="4213225"/>
            <a:ext cx="2089150" cy="2490788"/>
          </a:xfrm>
          <a:prstGeom prst="wedgeRectCallout">
            <a:avLst>
              <a:gd name="adj1" fmla="val -109317"/>
              <a:gd name="adj2" fmla="val -55726"/>
            </a:avLst>
          </a:prstGeom>
          <a:solidFill>
            <a:schemeClr val="bg1"/>
          </a:solidFill>
        </p:spPr>
        <p:style>
          <a:lnRef idx="1">
            <a:schemeClr val="accent1"/>
          </a:lnRef>
          <a:fillRef idx="3">
            <a:schemeClr val="accent1"/>
          </a:fillRef>
          <a:effectRef idx="2">
            <a:schemeClr val="accent1"/>
          </a:effectRef>
          <a:fontRef idx="minor">
            <a:schemeClr val="lt1"/>
          </a:fontRef>
        </p:style>
        <p:txBody>
          <a:bodyPr anchor="ctr"/>
          <a:lstStyle/>
          <a:p>
            <a:pPr>
              <a:defRPr/>
            </a:pPr>
            <a:r>
              <a:rPr lang="en-US" sz="1300" b="1" dirty="0">
                <a:solidFill>
                  <a:schemeClr val="tx1"/>
                </a:solidFill>
              </a:rPr>
              <a:t>A number of fields are involved within and beyond health</a:t>
            </a:r>
            <a:r>
              <a:rPr lang="en-US" sz="1300" dirty="0">
                <a:solidFill>
                  <a:schemeClr val="tx1"/>
                </a:solidFill>
              </a:rPr>
              <a:t>…</a:t>
            </a:r>
          </a:p>
          <a:p>
            <a:pPr marL="285750" indent="-285750">
              <a:buFont typeface="Arial" panose="020B0604020202020204" pitchFamily="34" charset="0"/>
              <a:buChar char="•"/>
              <a:defRPr/>
            </a:pPr>
            <a:r>
              <a:rPr lang="en-US" sz="1300" dirty="0">
                <a:solidFill>
                  <a:schemeClr val="tx1"/>
                </a:solidFill>
              </a:rPr>
              <a:t>Comparative medicine</a:t>
            </a:r>
          </a:p>
          <a:p>
            <a:pPr marL="285750" indent="-285750">
              <a:buFont typeface="Arial" panose="020B0604020202020204" pitchFamily="34" charset="0"/>
              <a:buChar char="•"/>
              <a:defRPr/>
            </a:pPr>
            <a:r>
              <a:rPr lang="en-US" sz="1300" dirty="0">
                <a:solidFill>
                  <a:schemeClr val="tx1"/>
                </a:solidFill>
              </a:rPr>
              <a:t>Social science</a:t>
            </a:r>
          </a:p>
          <a:p>
            <a:pPr marL="285750" indent="-285750">
              <a:buFont typeface="Arial" panose="020B0604020202020204" pitchFamily="34" charset="0"/>
              <a:buChar char="•"/>
              <a:defRPr/>
            </a:pPr>
            <a:r>
              <a:rPr lang="en-US" sz="1300" dirty="0">
                <a:solidFill>
                  <a:schemeClr val="tx1"/>
                </a:solidFill>
              </a:rPr>
              <a:t>Ecology</a:t>
            </a:r>
          </a:p>
          <a:p>
            <a:pPr marL="285750" indent="-285750">
              <a:buFont typeface="Arial" panose="020B0604020202020204" pitchFamily="34" charset="0"/>
              <a:buChar char="•"/>
              <a:defRPr/>
            </a:pPr>
            <a:r>
              <a:rPr lang="en-US" sz="1300" dirty="0">
                <a:solidFill>
                  <a:schemeClr val="tx1"/>
                </a:solidFill>
              </a:rPr>
              <a:t>Engineering</a:t>
            </a:r>
          </a:p>
          <a:p>
            <a:pPr marL="285750" indent="-285750">
              <a:buFont typeface="Arial" panose="020B0604020202020204" pitchFamily="34" charset="0"/>
              <a:buChar char="•"/>
              <a:defRPr/>
            </a:pPr>
            <a:r>
              <a:rPr lang="en-US" sz="1300" dirty="0">
                <a:solidFill>
                  <a:schemeClr val="tx1"/>
                </a:solidFill>
              </a:rPr>
              <a:t>Earth science</a:t>
            </a:r>
          </a:p>
          <a:p>
            <a:pPr marL="285750" indent="-285750">
              <a:buFont typeface="Arial" panose="020B0604020202020204" pitchFamily="34" charset="0"/>
              <a:buChar char="•"/>
              <a:defRPr/>
            </a:pPr>
            <a:r>
              <a:rPr lang="en-US" sz="1300" dirty="0">
                <a:solidFill>
                  <a:schemeClr val="tx1"/>
                </a:solidFill>
              </a:rPr>
              <a:t>Private sector </a:t>
            </a:r>
          </a:p>
          <a:p>
            <a:pPr marL="285750" indent="-285750">
              <a:buFont typeface="Arial" panose="020B0604020202020204" pitchFamily="34" charset="0"/>
              <a:buChar char="•"/>
              <a:defRPr/>
            </a:pPr>
            <a:r>
              <a:rPr lang="en-US" sz="1300" dirty="0">
                <a:solidFill>
                  <a:schemeClr val="tx1"/>
                </a:solidFill>
              </a:rPr>
              <a:t>Politics</a:t>
            </a:r>
          </a:p>
          <a:p>
            <a:pPr marL="285750" indent="-285750">
              <a:buFont typeface="Arial" panose="020B0604020202020204" pitchFamily="34" charset="0"/>
              <a:buChar char="•"/>
              <a:defRPr/>
            </a:pPr>
            <a:r>
              <a:rPr lang="en-US" sz="1300" dirty="0">
                <a:solidFill>
                  <a:schemeClr val="tx1"/>
                </a:solidFill>
              </a:rPr>
              <a:t>Many more… </a:t>
            </a:r>
            <a:endParaRPr lang="en-US" sz="1400" dirty="0"/>
          </a:p>
        </p:txBody>
      </p:sp>
    </p:spTree>
    <p:extLst>
      <p:ext uri="{BB962C8B-B14F-4D97-AF65-F5344CB8AC3E}">
        <p14:creationId xmlns:p14="http://schemas.microsoft.com/office/powerpoint/2010/main" val="5711661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a:xfrm>
            <a:off x="0" y="96838"/>
            <a:ext cx="9121775" cy="1143000"/>
          </a:xfrm>
        </p:spPr>
        <p:txBody>
          <a:bodyPr/>
          <a:lstStyle/>
          <a:p>
            <a:r>
              <a:rPr lang="en-US" altLang="en-US" sz="2000">
                <a:ea typeface="ＭＳ Ｐゴシック" panose="020B0600070205080204" pitchFamily="34" charset="-128"/>
              </a:rPr>
              <a:t>There is a need for interdisciplinary training as only about 50% of human clinicians surveyed interacted with an animal or environmental professional</a:t>
            </a:r>
          </a:p>
        </p:txBody>
      </p:sp>
      <p:sp>
        <p:nvSpPr>
          <p:cNvPr id="41987" name="Rectangle 10"/>
          <p:cNvSpPr>
            <a:spLocks noChangeArrowheads="1"/>
          </p:cNvSpPr>
          <p:nvPr/>
        </p:nvSpPr>
        <p:spPr bwMode="auto">
          <a:xfrm>
            <a:off x="5095875" y="1431925"/>
            <a:ext cx="40481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200" i="1">
                <a:solidFill>
                  <a:srgbClr val="000000"/>
                </a:solidFill>
                <a:latin typeface="Roboto"/>
              </a:rPr>
              <a:t>Based on what you know today, how important do you think One Health is to your work?</a:t>
            </a:r>
            <a:endParaRPr lang="en-US" altLang="en-US" sz="1200" i="1"/>
          </a:p>
        </p:txBody>
      </p:sp>
      <p:sp>
        <p:nvSpPr>
          <p:cNvPr id="41988" name="Rectangle 11"/>
          <p:cNvSpPr>
            <a:spLocks noChangeArrowheads="1"/>
          </p:cNvSpPr>
          <p:nvPr/>
        </p:nvSpPr>
        <p:spPr bwMode="auto">
          <a:xfrm>
            <a:off x="138113" y="1427163"/>
            <a:ext cx="45720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1200" i="1">
                <a:solidFill>
                  <a:srgbClr val="000000"/>
                </a:solidFill>
                <a:latin typeface="Roboto"/>
              </a:rPr>
              <a:t>In your daily work, how often have you interacted with experts in veterinary medicine and ecological science?</a:t>
            </a:r>
            <a:endParaRPr lang="en-US" altLang="en-US" sz="1200" i="1"/>
          </a:p>
        </p:txBody>
      </p:sp>
      <p:pic>
        <p:nvPicPr>
          <p:cNvPr id="41989" name="Picture 8"/>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120650" y="1889126"/>
            <a:ext cx="5002213" cy="3978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90" name="Picture 3"/>
          <p:cNvPicPr>
            <a:picLocks noChangeAspect="1"/>
          </p:cNvPicPr>
          <p:nvPr>
            <p:custDataLst>
              <p:tags r:id="rId2"/>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5211763" y="1966913"/>
            <a:ext cx="3744912" cy="39735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41991" name="TextBox 13"/>
          <p:cNvSpPr txBox="1">
            <a:spLocks noChangeArrowheads="1"/>
          </p:cNvSpPr>
          <p:nvPr/>
        </p:nvSpPr>
        <p:spPr bwMode="auto">
          <a:xfrm>
            <a:off x="304800" y="5694363"/>
            <a:ext cx="72882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spcBef>
                <a:spcPct val="0"/>
              </a:spcBef>
              <a:buClrTx/>
              <a:buSzTx/>
              <a:buFontTx/>
              <a:buNone/>
            </a:pPr>
            <a:r>
              <a:rPr lang="en-US" altLang="en-US" sz="1000" dirty="0"/>
              <a:t>Sources: UGHE One Health clinician survey at IMB. N = 15 </a:t>
            </a:r>
          </a:p>
        </p:txBody>
      </p: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22219007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p:txBody>
          <a:bodyPr/>
          <a:lstStyle/>
          <a:p>
            <a:pPr eaLnBrk="1" hangingPunct="1"/>
            <a:r>
              <a:rPr lang="en-US" altLang="en-US">
                <a:ea typeface="ＭＳ Ｐゴシック" panose="020B0600070205080204" pitchFamily="34" charset="-128"/>
              </a:rPr>
              <a:t>One Health</a:t>
            </a:r>
          </a:p>
        </p:txBody>
      </p:sp>
      <p:sp>
        <p:nvSpPr>
          <p:cNvPr id="3" name="Content Placeholder 2"/>
          <p:cNvSpPr>
            <a:spLocks noGrp="1"/>
          </p:cNvSpPr>
          <p:nvPr>
            <p:ph idx="1"/>
          </p:nvPr>
        </p:nvSpPr>
        <p:spPr>
          <a:xfrm>
            <a:off x="1326472" y="2416175"/>
            <a:ext cx="7315200" cy="3648075"/>
          </a:xfrm>
        </p:spPr>
        <p:txBody>
          <a:bodyPr>
            <a:normAutofit lnSpcReduction="10000"/>
          </a:bodyPr>
          <a:lstStyle/>
          <a:p>
            <a:pPr eaLnBrk="1" hangingPunct="1"/>
            <a:r>
              <a:rPr lang="en-US" altLang="en-US" dirty="0">
                <a:ea typeface="ＭＳ Ｐゴシック" panose="020B0600070205080204" pitchFamily="34" charset="-128"/>
              </a:rPr>
              <a:t>What is it?</a:t>
            </a:r>
          </a:p>
          <a:p>
            <a:pPr eaLnBrk="1" hangingPunct="1"/>
            <a:endParaRPr lang="en-US" altLang="en-US" dirty="0">
              <a:ea typeface="ＭＳ Ｐゴシック" panose="020B0600070205080204" pitchFamily="34" charset="-128"/>
            </a:endParaRPr>
          </a:p>
          <a:p>
            <a:pPr eaLnBrk="1" hangingPunct="1"/>
            <a:r>
              <a:rPr lang="en-US" altLang="en-US" dirty="0">
                <a:ea typeface="ＭＳ Ｐゴシック" panose="020B0600070205080204" pitchFamily="34" charset="-128"/>
              </a:rPr>
              <a:t>Recognition that </a:t>
            </a:r>
          </a:p>
          <a:p>
            <a:pPr eaLnBrk="1" hangingPunct="1">
              <a:buFontTx/>
              <a:buNone/>
            </a:pPr>
            <a:r>
              <a:rPr lang="en-US" altLang="en-US" dirty="0">
                <a:ea typeface="ＭＳ Ｐゴシック" panose="020B0600070205080204" pitchFamily="34" charset="-128"/>
              </a:rPr>
              <a:t>		human health,</a:t>
            </a:r>
          </a:p>
          <a:p>
            <a:pPr eaLnBrk="1" hangingPunct="1">
              <a:buFontTx/>
              <a:buNone/>
            </a:pPr>
            <a:r>
              <a:rPr lang="en-US" altLang="en-US" dirty="0">
                <a:ea typeface="ＭＳ Ｐゴシック" panose="020B0600070205080204" pitchFamily="34" charset="-128"/>
              </a:rPr>
              <a:t>			animal health and </a:t>
            </a:r>
          </a:p>
          <a:p>
            <a:pPr eaLnBrk="1" hangingPunct="1">
              <a:buFontTx/>
              <a:buNone/>
            </a:pPr>
            <a:r>
              <a:rPr lang="en-US" altLang="en-US" i="1" dirty="0">
                <a:ea typeface="ＭＳ Ｐゴシック" panose="020B0600070205080204" pitchFamily="34" charset="-128"/>
              </a:rPr>
              <a:t>				ecosystem health </a:t>
            </a:r>
          </a:p>
          <a:p>
            <a:pPr eaLnBrk="1" hangingPunct="1">
              <a:buFontTx/>
              <a:buNone/>
            </a:pPr>
            <a:r>
              <a:rPr lang="en-US" altLang="en-US" dirty="0">
                <a:ea typeface="ＭＳ Ｐゴシック" panose="020B0600070205080204" pitchFamily="34" charset="-128"/>
              </a:rPr>
              <a:t>					are inextricably linked</a:t>
            </a:r>
          </a:p>
        </p:txBody>
      </p:sp>
      <p:cxnSp>
        <p:nvCxnSpPr>
          <p:cNvPr id="9" name="Curved Connector 8"/>
          <p:cNvCxnSpPr/>
          <p:nvPr/>
        </p:nvCxnSpPr>
        <p:spPr>
          <a:xfrm>
            <a:off x="1371600" y="3714750"/>
            <a:ext cx="1143000" cy="609600"/>
          </a:xfrm>
          <a:prstGeom prst="curvedConnector3">
            <a:avLst>
              <a:gd name="adj1" fmla="val -45484"/>
            </a:avLst>
          </a:prstGeom>
          <a:ln w="57150">
            <a:tailEnd type="arrow"/>
          </a:ln>
        </p:spPr>
        <p:style>
          <a:lnRef idx="1">
            <a:schemeClr val="accent1"/>
          </a:lnRef>
          <a:fillRef idx="0">
            <a:schemeClr val="accent1"/>
          </a:fillRef>
          <a:effectRef idx="0">
            <a:schemeClr val="accent1"/>
          </a:effectRef>
          <a:fontRef idx="minor">
            <a:schemeClr val="tx1"/>
          </a:fontRef>
        </p:style>
      </p:cxnSp>
      <p:cxnSp>
        <p:nvCxnSpPr>
          <p:cNvPr id="12" name="Curved Connector 11"/>
          <p:cNvCxnSpPr/>
          <p:nvPr/>
        </p:nvCxnSpPr>
        <p:spPr>
          <a:xfrm>
            <a:off x="1143000" y="3668713"/>
            <a:ext cx="2133600" cy="1143000"/>
          </a:xfrm>
          <a:prstGeom prst="curvedConnector3">
            <a:avLst>
              <a:gd name="adj1" fmla="val -34332"/>
            </a:avLst>
          </a:prstGeom>
          <a:ln w="5715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7" name="Curved Connector 16"/>
          <p:cNvCxnSpPr/>
          <p:nvPr/>
        </p:nvCxnSpPr>
        <p:spPr>
          <a:xfrm>
            <a:off x="3124200" y="4800600"/>
            <a:ext cx="1143000" cy="533400"/>
          </a:xfrm>
          <a:prstGeom prst="curvedConnector3">
            <a:avLst>
              <a:gd name="adj1" fmla="val -82903"/>
            </a:avLst>
          </a:prstGeom>
          <a:ln w="5715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20" name="Curved Connector 19"/>
          <p:cNvCxnSpPr/>
          <p:nvPr/>
        </p:nvCxnSpPr>
        <p:spPr>
          <a:xfrm rot="10800000">
            <a:off x="4800600" y="3657600"/>
            <a:ext cx="1828800" cy="533400"/>
          </a:xfrm>
          <a:prstGeom prst="curvedConnector3">
            <a:avLst>
              <a:gd name="adj1" fmla="val -37903"/>
            </a:avLst>
          </a:prstGeom>
          <a:ln w="57150">
            <a:tailEnd type="arrow"/>
          </a:ln>
        </p:spPr>
        <p:style>
          <a:lnRef idx="1">
            <a:schemeClr val="accent1"/>
          </a:lnRef>
          <a:fillRef idx="0">
            <a:schemeClr val="accent1"/>
          </a:fillRef>
          <a:effectRef idx="0">
            <a:schemeClr val="accent1"/>
          </a:effectRef>
          <a:fontRef idx="minor">
            <a:schemeClr val="tx1"/>
          </a:fontRef>
        </p:style>
      </p:cxnSp>
      <p:cxnSp>
        <p:nvCxnSpPr>
          <p:cNvPr id="29" name="Curved Connector 28"/>
          <p:cNvCxnSpPr/>
          <p:nvPr/>
        </p:nvCxnSpPr>
        <p:spPr>
          <a:xfrm rot="10800000">
            <a:off x="5029200" y="3700463"/>
            <a:ext cx="1752600" cy="1143000"/>
          </a:xfrm>
          <a:prstGeom prst="curvedConnector3">
            <a:avLst>
              <a:gd name="adj1" fmla="val -86325"/>
            </a:avLst>
          </a:prstGeom>
          <a:ln w="5715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47" name="Curved Connector 46"/>
          <p:cNvCxnSpPr/>
          <p:nvPr/>
        </p:nvCxnSpPr>
        <p:spPr>
          <a:xfrm rot="10800000">
            <a:off x="5791200" y="4191000"/>
            <a:ext cx="762000" cy="609600"/>
          </a:xfrm>
          <a:prstGeom prst="curvedConnector3">
            <a:avLst>
              <a:gd name="adj1" fmla="val -120323"/>
            </a:avLst>
          </a:prstGeom>
          <a:ln w="57150">
            <a:solidFill>
              <a:srgbClr val="002060"/>
            </a:solidFill>
            <a:tailEnd type="arrow"/>
          </a:ln>
        </p:spPr>
        <p:style>
          <a:lnRef idx="1">
            <a:schemeClr val="accent1"/>
          </a:lnRef>
          <a:fillRef idx="0">
            <a:schemeClr val="accent1"/>
          </a:fillRef>
          <a:effectRef idx="0">
            <a:schemeClr val="accent1"/>
          </a:effectRef>
          <a:fontRef idx="minor">
            <a:schemeClr val="tx1"/>
          </a:fontRef>
        </p:style>
      </p:cxnSp>
      <p:pic>
        <p:nvPicPr>
          <p:cNvPr id="44042" name="Picture 5" descr="MCj043805900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91200" y="685800"/>
            <a:ext cx="30480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a:spLocks noChangeArrowheads="1"/>
          </p:cNvSpPr>
          <p:nvPr/>
        </p:nvSpPr>
        <p:spPr bwMode="auto">
          <a:xfrm>
            <a:off x="211137" y="1532568"/>
            <a:ext cx="58261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ClrTx/>
              <a:buSzTx/>
              <a:buFontTx/>
              <a:buNone/>
            </a:pPr>
            <a:r>
              <a:rPr lang="en-US" altLang="en-US" sz="2400" dirty="0">
                <a:solidFill>
                  <a:srgbClr val="C00000"/>
                </a:solidFill>
                <a:latin typeface="Palatino Linotype" panose="02040502050505030304" pitchFamily="18" charset="0"/>
              </a:rPr>
              <a:t>What do we DO with this recognition?.....</a:t>
            </a: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154188583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ntr" presetSubtype="0" fill="hold" nodeType="click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a:lstStyle/>
          <a:p>
            <a:pPr algn="r"/>
            <a:r>
              <a:rPr lang="en-US" altLang="en-US">
                <a:ea typeface="ＭＳ Ｐゴシック" panose="020B0600070205080204" pitchFamily="34" charset="-128"/>
              </a:rPr>
              <a:t>Principles of one health</a:t>
            </a:r>
          </a:p>
        </p:txBody>
      </p:sp>
      <p:sp>
        <p:nvSpPr>
          <p:cNvPr id="3" name="Content Placeholder 2"/>
          <p:cNvSpPr>
            <a:spLocks noGrp="1"/>
          </p:cNvSpPr>
          <p:nvPr>
            <p:ph idx="1"/>
          </p:nvPr>
        </p:nvSpPr>
        <p:spPr>
          <a:xfrm>
            <a:off x="709951" y="1752600"/>
            <a:ext cx="7693025" cy="4038600"/>
          </a:xfrm>
        </p:spPr>
        <p:txBody>
          <a:bodyPr>
            <a:normAutofit fontScale="92500" lnSpcReduction="10000"/>
          </a:bodyPr>
          <a:lstStyle/>
          <a:p>
            <a:pPr>
              <a:defRPr/>
            </a:pPr>
            <a:r>
              <a:rPr lang="en-US" sz="2400" dirty="0"/>
              <a:t>Use of holistic systems approach in the management of health </a:t>
            </a:r>
            <a:r>
              <a:rPr lang="en-US" sz="2400" dirty="0" smtClean="0"/>
              <a:t>challenges:</a:t>
            </a:r>
            <a:endParaRPr lang="en-US" sz="2400" dirty="0"/>
          </a:p>
          <a:p>
            <a:pPr marL="0" indent="0">
              <a:buNone/>
              <a:defRPr/>
            </a:pPr>
            <a:r>
              <a:rPr lang="en-US" sz="2400" dirty="0"/>
              <a:t>	-</a:t>
            </a:r>
            <a:r>
              <a:rPr lang="en-US" sz="2000" dirty="0"/>
              <a:t>Multidisciplinary and/or inter-</a:t>
            </a:r>
            <a:r>
              <a:rPr lang="en-US" sz="2000" dirty="0" err="1"/>
              <a:t>sectoral</a:t>
            </a:r>
            <a:r>
              <a:rPr lang="en-US" sz="2000" dirty="0"/>
              <a:t> collaboration</a:t>
            </a:r>
          </a:p>
          <a:p>
            <a:pPr marL="0" indent="0">
              <a:buNone/>
              <a:defRPr/>
            </a:pPr>
            <a:r>
              <a:rPr lang="en-US" sz="2000" dirty="0"/>
              <a:t>	-Sharing of resources: technical, information, structural, 			human, etc.</a:t>
            </a:r>
          </a:p>
          <a:p>
            <a:pPr marL="0" indent="0">
              <a:buNone/>
              <a:defRPr/>
            </a:pPr>
            <a:r>
              <a:rPr lang="en-US" sz="2000" dirty="0"/>
              <a:t>	- Promotion of transparent communication and sharing </a:t>
            </a:r>
            <a:r>
              <a:rPr lang="en-US" sz="2000" dirty="0" smtClean="0"/>
              <a:t>	of information </a:t>
            </a:r>
            <a:r>
              <a:rPr lang="en-US" sz="2000" dirty="0"/>
              <a:t>between stakeholders</a:t>
            </a:r>
          </a:p>
          <a:p>
            <a:pPr marL="0" indent="0">
              <a:buNone/>
              <a:defRPr/>
            </a:pPr>
            <a:r>
              <a:rPr lang="en-US" sz="2000" dirty="0"/>
              <a:t>	- Cooperation between the public and private sectors</a:t>
            </a:r>
          </a:p>
          <a:p>
            <a:pPr marL="0" indent="0">
              <a:buNone/>
              <a:defRPr/>
            </a:pPr>
            <a:r>
              <a:rPr lang="en-US" sz="2000" dirty="0"/>
              <a:t>	- Unified and cooperative capacity building within the 			health sector</a:t>
            </a:r>
            <a:r>
              <a:rPr lang="en-US" sz="2400" dirty="0"/>
              <a:t>. </a:t>
            </a:r>
          </a:p>
          <a:p>
            <a:pPr marL="0" indent="0">
              <a:buFont typeface="Wingdings" panose="05000000000000000000" pitchFamily="2" charset="2"/>
              <a:buNone/>
              <a:defRPr/>
            </a:pPr>
            <a:endParaRPr lang="en-US" sz="2400" i="1" dirty="0"/>
          </a:p>
          <a:p>
            <a:pPr>
              <a:defRPr/>
            </a:pPr>
            <a:endParaRPr lang="en-US" sz="2400" dirty="0"/>
          </a:p>
          <a:p>
            <a:pPr marL="0" indent="0">
              <a:buFont typeface="Wingdings" panose="05000000000000000000" pitchFamily="2" charset="2"/>
              <a:buNone/>
              <a:defRPr/>
            </a:pPr>
            <a:endParaRPr lang="en-US" sz="2400" dirty="0"/>
          </a:p>
          <a:p>
            <a:pPr>
              <a:defRPr/>
            </a:pPr>
            <a:endParaRPr lang="en-US" sz="2400" i="1" dirty="0"/>
          </a:p>
          <a:p>
            <a:pPr marL="0" indent="0">
              <a:buFont typeface="Wingdings" panose="05000000000000000000" pitchFamily="2" charset="2"/>
              <a:buNone/>
              <a:defRPr/>
            </a:pPr>
            <a:endParaRPr lang="en-US" sz="2400" i="1"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10105272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78656"/>
            <a:ext cx="7497762" cy="715963"/>
          </a:xfrm>
        </p:spPr>
        <p:txBody>
          <a:bodyPr>
            <a:normAutofit fontScale="90000"/>
          </a:bodyPr>
          <a:lstStyle/>
          <a:p>
            <a:pPr>
              <a:defRPr/>
            </a:pPr>
            <a:r>
              <a:rPr lang="en-US" sz="4400" dirty="0"/>
              <a:t>Major challenges</a:t>
            </a:r>
            <a:endParaRPr lang="en-US" dirty="0"/>
          </a:p>
        </p:txBody>
      </p:sp>
      <p:sp>
        <p:nvSpPr>
          <p:cNvPr id="3" name="Content Placeholder 2"/>
          <p:cNvSpPr>
            <a:spLocks noGrp="1"/>
          </p:cNvSpPr>
          <p:nvPr>
            <p:ph idx="1"/>
          </p:nvPr>
        </p:nvSpPr>
        <p:spPr>
          <a:xfrm>
            <a:off x="990600" y="1981200"/>
            <a:ext cx="7251700" cy="3581400"/>
          </a:xfrm>
        </p:spPr>
        <p:txBody>
          <a:bodyPr>
            <a:normAutofit fontScale="92500" lnSpcReduction="20000"/>
          </a:bodyPr>
          <a:lstStyle/>
          <a:p>
            <a:pPr>
              <a:buFont typeface="Wingdings" panose="05000000000000000000" pitchFamily="2" charset="2"/>
              <a:buChar char="Ø"/>
              <a:defRPr/>
            </a:pPr>
            <a:r>
              <a:rPr lang="en-US" b="1" dirty="0">
                <a:cs typeface="Calibri" pitchFamily="34" charset="0"/>
              </a:rPr>
              <a:t>Transform systems and professions </a:t>
            </a:r>
            <a:r>
              <a:rPr lang="en-US" dirty="0">
                <a:cs typeface="Calibri" pitchFamily="34" charset="0"/>
              </a:rPr>
              <a:t>to respond more efficiently and sustainably to disease prevention and control requirements?</a:t>
            </a:r>
          </a:p>
          <a:p>
            <a:pPr>
              <a:buFont typeface="Wingdings" panose="05000000000000000000" pitchFamily="2" charset="2"/>
              <a:buChar char="Ø"/>
              <a:defRPr/>
            </a:pPr>
            <a:endParaRPr lang="en-US" dirty="0">
              <a:cs typeface="Calibri" pitchFamily="34" charset="0"/>
            </a:endParaRPr>
          </a:p>
          <a:p>
            <a:pPr>
              <a:buFont typeface="Wingdings" panose="05000000000000000000" pitchFamily="2" charset="2"/>
              <a:buChar char="Ø"/>
              <a:defRPr/>
            </a:pPr>
            <a:r>
              <a:rPr lang="en-US" b="1" dirty="0">
                <a:cs typeface="Calibri" pitchFamily="34" charset="0"/>
              </a:rPr>
              <a:t>Work with industries </a:t>
            </a:r>
            <a:r>
              <a:rPr lang="en-US" dirty="0">
                <a:cs typeface="Calibri" pitchFamily="34" charset="0"/>
              </a:rPr>
              <a:t>currently active in locations where animal-human-environment interface is a daily reality</a:t>
            </a:r>
          </a:p>
          <a:p>
            <a:pPr>
              <a:defRPr/>
            </a:pPr>
            <a:endParaRPr lang="en-US" dirty="0">
              <a:cs typeface="Calibri" pitchFamily="34" charset="0"/>
            </a:endParaRPr>
          </a:p>
          <a:p>
            <a:pPr>
              <a:buFont typeface="Wingdings" panose="05000000000000000000" pitchFamily="2" charset="2"/>
              <a:buChar char="Ø"/>
              <a:defRPr/>
            </a:pPr>
            <a:r>
              <a:rPr lang="en-US" dirty="0">
                <a:cs typeface="Calibri" pitchFamily="34" charset="0"/>
              </a:rPr>
              <a:t>E</a:t>
            </a:r>
            <a:r>
              <a:rPr lang="en-US" b="1" dirty="0">
                <a:cs typeface="Calibri" pitchFamily="34" charset="0"/>
              </a:rPr>
              <a:t>nable disciplines to work together</a:t>
            </a:r>
            <a:endParaRPr lang="en-US" dirty="0">
              <a:cs typeface="Calibri" pitchFamily="34" charset="0"/>
            </a:endParaRPr>
          </a:p>
          <a:p>
            <a:pPr>
              <a:defRPr/>
            </a:pPr>
            <a:endParaRPr lang="en-US" dirty="0"/>
          </a:p>
        </p:txBody>
      </p:sp>
      <p:pic>
        <p:nvPicPr>
          <p:cNvPr id="4608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62800" y="0"/>
            <a:ext cx="18288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257042465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a:xfrm>
            <a:off x="1752600" y="685800"/>
            <a:ext cx="6858000" cy="1143000"/>
          </a:xfrm>
        </p:spPr>
        <p:txBody>
          <a:bodyPr/>
          <a:lstStyle/>
          <a:p>
            <a:r>
              <a:rPr lang="en-US" altLang="en-US">
                <a:ea typeface="ＭＳ Ｐゴシック" panose="020B0600070205080204" pitchFamily="34" charset="-128"/>
              </a:rPr>
              <a:t>Barriers</a:t>
            </a:r>
          </a:p>
        </p:txBody>
      </p:sp>
      <p:sp>
        <p:nvSpPr>
          <p:cNvPr id="3" name="Content Placeholder 2"/>
          <p:cNvSpPr>
            <a:spLocks noGrp="1"/>
          </p:cNvSpPr>
          <p:nvPr>
            <p:ph idx="1"/>
          </p:nvPr>
        </p:nvSpPr>
        <p:spPr>
          <a:xfrm>
            <a:off x="628650" y="1799208"/>
            <a:ext cx="3581400" cy="4144962"/>
          </a:xfrm>
        </p:spPr>
        <p:txBody>
          <a:bodyPr>
            <a:normAutofit fontScale="70000" lnSpcReduction="20000"/>
          </a:bodyPr>
          <a:lstStyle/>
          <a:p>
            <a:pPr>
              <a:defRPr/>
            </a:pPr>
            <a:r>
              <a:rPr lang="en-US" dirty="0"/>
              <a:t>History</a:t>
            </a:r>
          </a:p>
          <a:p>
            <a:pPr>
              <a:defRPr/>
            </a:pPr>
            <a:r>
              <a:rPr lang="en-US" dirty="0"/>
              <a:t>Professional biases </a:t>
            </a:r>
          </a:p>
          <a:p>
            <a:pPr>
              <a:buFont typeface="Wingdings" panose="05000000000000000000" pitchFamily="2" charset="2"/>
              <a:buNone/>
              <a:defRPr/>
            </a:pPr>
            <a:endParaRPr lang="en-US" dirty="0"/>
          </a:p>
          <a:p>
            <a:pPr>
              <a:defRPr/>
            </a:pPr>
            <a:r>
              <a:rPr lang="en-US" dirty="0"/>
              <a:t>Policies</a:t>
            </a:r>
          </a:p>
          <a:p>
            <a:pPr>
              <a:defRPr/>
            </a:pPr>
            <a:r>
              <a:rPr lang="en-US" dirty="0"/>
              <a:t>Jurisdiction</a:t>
            </a:r>
          </a:p>
          <a:p>
            <a:pPr>
              <a:buFont typeface="Wingdings" panose="05000000000000000000" pitchFamily="2" charset="2"/>
              <a:buNone/>
              <a:defRPr/>
            </a:pPr>
            <a:endParaRPr lang="en-US" dirty="0"/>
          </a:p>
          <a:p>
            <a:pPr>
              <a:defRPr/>
            </a:pPr>
            <a:r>
              <a:rPr lang="en-US" dirty="0"/>
              <a:t>Resources</a:t>
            </a:r>
          </a:p>
          <a:p>
            <a:pPr>
              <a:defRPr/>
            </a:pPr>
            <a:r>
              <a:rPr lang="en-US" dirty="0"/>
              <a:t>Culture</a:t>
            </a:r>
          </a:p>
          <a:p>
            <a:pPr>
              <a:defRPr/>
            </a:pPr>
            <a:r>
              <a:rPr lang="en-US" dirty="0" smtClean="0"/>
              <a:t>Inertia:</a:t>
            </a:r>
            <a:endParaRPr lang="en-US" dirty="0"/>
          </a:p>
          <a:p>
            <a:pPr>
              <a:buFont typeface="Wingdings" panose="05000000000000000000" pitchFamily="2" charset="2"/>
              <a:buNone/>
              <a:defRPr/>
            </a:pPr>
            <a:r>
              <a:rPr lang="en-US" dirty="0"/>
              <a:t>	-organizational</a:t>
            </a:r>
          </a:p>
          <a:p>
            <a:pPr>
              <a:buFont typeface="Wingdings" panose="05000000000000000000" pitchFamily="2" charset="2"/>
              <a:buNone/>
              <a:defRPr/>
            </a:pPr>
            <a:r>
              <a:rPr lang="en-US" dirty="0"/>
              <a:t>	-Surveillance skills</a:t>
            </a:r>
          </a:p>
          <a:p>
            <a:pPr>
              <a:buFont typeface="Wingdings" panose="05000000000000000000" pitchFamily="2" charset="2"/>
              <a:buNone/>
              <a:defRPr/>
            </a:pPr>
            <a:endParaRPr lang="en-US" dirty="0"/>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63855" y="1357089"/>
            <a:ext cx="1695450"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86600" y="1184753"/>
            <a:ext cx="1885950"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42445" y="3962400"/>
            <a:ext cx="184785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 name="Picture 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91150" y="3962400"/>
            <a:ext cx="1695450"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21180591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5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05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ctrTitle"/>
          </p:nvPr>
        </p:nvSpPr>
        <p:spPr/>
        <p:txBody>
          <a:bodyPr/>
          <a:lstStyle/>
          <a:p>
            <a:endParaRPr lang="en-US" altLang="en-US">
              <a:ea typeface="ＭＳ Ｐゴシック" panose="020B0600070205080204" pitchFamily="34" charset="-128"/>
            </a:endParaRPr>
          </a:p>
        </p:txBody>
      </p:sp>
      <p:sp>
        <p:nvSpPr>
          <p:cNvPr id="48131" name="Subtitle 2"/>
          <p:cNvSpPr>
            <a:spLocks noGrp="1"/>
          </p:cNvSpPr>
          <p:nvPr>
            <p:ph type="subTitle" idx="1"/>
          </p:nvPr>
        </p:nvSpPr>
        <p:spPr/>
        <p:txBody>
          <a:bodyPr/>
          <a:lstStyle/>
          <a:p>
            <a:endParaRPr lang="en-US" altLang="en-US">
              <a:ea typeface="ＭＳ Ｐゴシック" panose="020B0600070205080204" pitchFamily="34" charset="-128"/>
            </a:endParaRPr>
          </a:p>
        </p:txBody>
      </p:sp>
      <p:pic>
        <p:nvPicPr>
          <p:cNvPr id="48132" name="Picture 2" descr="I:\A Tufts Laptop\Conferences\ASTMH 2010\Health systems generic.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Down Arrow Callout 16"/>
          <p:cNvSpPr/>
          <p:nvPr/>
        </p:nvSpPr>
        <p:spPr>
          <a:xfrm>
            <a:off x="5943600" y="152400"/>
            <a:ext cx="1905000" cy="762000"/>
          </a:xfrm>
          <a:prstGeom prst="downArrowCallou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rgbClr val="800000"/>
                </a:solidFill>
              </a:rPr>
              <a:t>Thanks to H5N1</a:t>
            </a:r>
          </a:p>
        </p:txBody>
      </p:sp>
      <p:sp>
        <p:nvSpPr>
          <p:cNvPr id="18" name="Up Arrow 17"/>
          <p:cNvSpPr/>
          <p:nvPr/>
        </p:nvSpPr>
        <p:spPr>
          <a:xfrm>
            <a:off x="1066800" y="2057400"/>
            <a:ext cx="609600" cy="4191000"/>
          </a:xfrm>
          <a:prstGeom prst="upArrow">
            <a:avLst/>
          </a:prstGeom>
          <a:solidFill>
            <a:schemeClr val="accent2">
              <a:alpha val="40000"/>
            </a:schemeClr>
          </a:solid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9" name="Up Arrow 18"/>
          <p:cNvSpPr/>
          <p:nvPr/>
        </p:nvSpPr>
        <p:spPr>
          <a:xfrm>
            <a:off x="3962400" y="2057400"/>
            <a:ext cx="609600" cy="4191000"/>
          </a:xfrm>
          <a:prstGeom prst="upArrow">
            <a:avLst/>
          </a:prstGeom>
          <a:solidFill>
            <a:schemeClr val="accent2">
              <a:alpha val="40000"/>
            </a:schemeClr>
          </a:solid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 name="Up Arrow 19"/>
          <p:cNvSpPr/>
          <p:nvPr/>
        </p:nvSpPr>
        <p:spPr>
          <a:xfrm>
            <a:off x="7010400" y="2057400"/>
            <a:ext cx="609600" cy="1905000"/>
          </a:xfrm>
          <a:prstGeom prst="upArrow">
            <a:avLst/>
          </a:prstGeom>
          <a:solidFill>
            <a:schemeClr val="accent2">
              <a:alpha val="40000"/>
            </a:schemeClr>
          </a:solidFill>
          <a:ln>
            <a:solidFill>
              <a:srgbClr val="0000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1" name="Rectangle 20"/>
          <p:cNvSpPr>
            <a:spLocks noChangeArrowheads="1"/>
          </p:cNvSpPr>
          <p:nvPr/>
        </p:nvSpPr>
        <p:spPr bwMode="auto">
          <a:xfrm>
            <a:off x="6021388" y="4800600"/>
            <a:ext cx="2478087"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2200">
                <a:solidFill>
                  <a:srgbClr val="800000"/>
                </a:solidFill>
              </a:rPr>
              <a:t>Management silos</a:t>
            </a:r>
          </a:p>
        </p:txBody>
      </p:sp>
      <p:sp>
        <p:nvSpPr>
          <p:cNvPr id="22" name="Rectangle 21"/>
          <p:cNvSpPr>
            <a:spLocks noChangeArrowheads="1"/>
          </p:cNvSpPr>
          <p:nvPr/>
        </p:nvSpPr>
        <p:spPr bwMode="auto">
          <a:xfrm>
            <a:off x="4953000" y="5562600"/>
            <a:ext cx="4572000"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SzTx/>
              <a:buFontTx/>
              <a:buNone/>
            </a:pPr>
            <a:r>
              <a:rPr lang="en-US" altLang="en-US" sz="2200">
                <a:solidFill>
                  <a:srgbClr val="800000"/>
                </a:solidFill>
              </a:rPr>
              <a:t>One way flow of information</a:t>
            </a:r>
          </a:p>
          <a:p>
            <a:pPr algn="ctr">
              <a:spcBef>
                <a:spcPct val="0"/>
              </a:spcBef>
              <a:buClrTx/>
              <a:buSzTx/>
              <a:buFontTx/>
              <a:buNone/>
            </a:pPr>
            <a:r>
              <a:rPr lang="en-US" altLang="en-US" sz="2200">
                <a:solidFill>
                  <a:srgbClr val="800000"/>
                </a:solidFill>
              </a:rPr>
              <a:t>Limited feedback</a:t>
            </a:r>
          </a:p>
          <a:p>
            <a:pPr algn="ctr">
              <a:spcBef>
                <a:spcPct val="0"/>
              </a:spcBef>
              <a:buClrTx/>
              <a:buSzTx/>
              <a:buFontTx/>
              <a:buNone/>
            </a:pPr>
            <a:r>
              <a:rPr lang="en-US" altLang="en-US" sz="2200">
                <a:solidFill>
                  <a:srgbClr val="800000"/>
                </a:solidFill>
              </a:rPr>
              <a:t>Limited lateral flow</a:t>
            </a:r>
          </a:p>
        </p:txBody>
      </p:sp>
      <p:sp>
        <p:nvSpPr>
          <p:cNvPr id="48139" name="TextBox 10"/>
          <p:cNvSpPr txBox="1">
            <a:spLocks noChangeArrowheads="1"/>
          </p:cNvSpPr>
          <p:nvPr/>
        </p:nvSpPr>
        <p:spPr bwMode="auto">
          <a:xfrm>
            <a:off x="6477000" y="3657600"/>
            <a:ext cx="304800" cy="36988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spcBef>
                <a:spcPct val="0"/>
              </a:spcBef>
              <a:buClrTx/>
              <a:buSzTx/>
              <a:buFontTx/>
              <a:buNone/>
            </a:pPr>
            <a:endParaRPr lang="en-US" altLang="en-US" sz="1800"/>
          </a:p>
        </p:txBody>
      </p:sp>
      <p:sp>
        <p:nvSpPr>
          <p:cNvPr id="48140" name="TextBox 11"/>
          <p:cNvSpPr txBox="1">
            <a:spLocks noChangeArrowheads="1"/>
          </p:cNvSpPr>
          <p:nvPr/>
        </p:nvSpPr>
        <p:spPr bwMode="auto">
          <a:xfrm>
            <a:off x="7924800" y="3657600"/>
            <a:ext cx="762000" cy="36988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spcBef>
                <a:spcPct val="0"/>
              </a:spcBef>
              <a:buClrTx/>
              <a:buSzTx/>
              <a:buFontTx/>
              <a:buNone/>
            </a:pPr>
            <a:endParaRPr lang="en-US" altLang="en-US" sz="1800"/>
          </a:p>
        </p:txBody>
      </p:sp>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000" y="6347216"/>
            <a:ext cx="8382000" cy="504865"/>
          </a:xfrm>
          <a:prstGeom prst="rect">
            <a:avLst/>
          </a:prstGeom>
        </p:spPr>
      </p:pic>
    </p:spTree>
    <p:extLst>
      <p:ext uri="{BB962C8B-B14F-4D97-AF65-F5344CB8AC3E}">
        <p14:creationId xmlns:p14="http://schemas.microsoft.com/office/powerpoint/2010/main" val="25967342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685800" y="685800"/>
            <a:ext cx="7848600" cy="914400"/>
          </a:xfrm>
        </p:spPr>
        <p:txBody>
          <a:bodyPr>
            <a:normAutofit fontScale="90000"/>
          </a:bodyPr>
          <a:lstStyle/>
          <a:p>
            <a:pPr eaLnBrk="1" hangingPunct="1"/>
            <a:r>
              <a:rPr lang="en-US" altLang="en-US" sz="3100">
                <a:ea typeface="ＭＳ Ｐゴシック" panose="020B0600070205080204" pitchFamily="34" charset="-128"/>
              </a:rPr>
              <a:t> We need an integrated approach</a:t>
            </a:r>
            <a:r>
              <a:rPr lang="en-US" altLang="en-US">
                <a:ea typeface="ＭＳ Ｐゴシック" panose="020B0600070205080204" pitchFamily="34" charset="-128"/>
              </a:rPr>
              <a:t>?</a:t>
            </a:r>
          </a:p>
        </p:txBody>
      </p:sp>
      <p:grpSp>
        <p:nvGrpSpPr>
          <p:cNvPr id="8195" name="Group 9"/>
          <p:cNvGrpSpPr>
            <a:grpSpLocks/>
          </p:cNvGrpSpPr>
          <p:nvPr/>
        </p:nvGrpSpPr>
        <p:grpSpPr bwMode="auto">
          <a:xfrm>
            <a:off x="2209800" y="1828800"/>
            <a:ext cx="4191000" cy="3886200"/>
            <a:chOff x="914400" y="152401"/>
            <a:chExt cx="7277100" cy="6248400"/>
          </a:xfrm>
        </p:grpSpPr>
        <p:pic>
          <p:nvPicPr>
            <p:cNvPr id="8196" name="Picture 4" descr="C:\Documents and Settings\gkaufman\Local Settings\Temporary Internet Files\Content.IE5\UA5HWYE6\MC900088524[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400" y="152401"/>
              <a:ext cx="7277100" cy="624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7" name="Picture 8" descr="Hicks_peaceable-kingom.jp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71600" y="609600"/>
              <a:ext cx="6400800" cy="5340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39953068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66800" y="1066800"/>
            <a:ext cx="7620000" cy="1828800"/>
          </a:xfrm>
        </p:spPr>
        <p:txBody>
          <a:bodyPr>
            <a:noAutofit/>
          </a:bodyPr>
          <a:lstStyle/>
          <a:p>
            <a:pPr>
              <a:defRPr/>
            </a:pPr>
            <a:r>
              <a:rPr lang="en-US" sz="2800" dirty="0"/>
              <a:t>Unequal human resource capacity …</a:t>
            </a:r>
            <a:br>
              <a:rPr lang="en-US" sz="2800" dirty="0"/>
            </a:br>
            <a:r>
              <a:rPr lang="en-US" sz="2800" dirty="0"/>
              <a:t>… lack of front line responders from all health professions</a:t>
            </a:r>
          </a:p>
        </p:txBody>
      </p:sp>
      <p:pic>
        <p:nvPicPr>
          <p:cNvPr id="5017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57600" y="3276600"/>
            <a:ext cx="3209925" cy="312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9644" y="6425852"/>
            <a:ext cx="8382000" cy="504865"/>
          </a:xfrm>
          <a:prstGeom prst="rect">
            <a:avLst/>
          </a:prstGeom>
        </p:spPr>
      </p:pic>
    </p:spTree>
    <p:extLst>
      <p:ext uri="{BB962C8B-B14F-4D97-AF65-F5344CB8AC3E}">
        <p14:creationId xmlns:p14="http://schemas.microsoft.com/office/powerpoint/2010/main" val="32812639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p:txBody>
          <a:bodyPr>
            <a:normAutofit fontScale="90000"/>
          </a:bodyPr>
          <a:lstStyle/>
          <a:p>
            <a:pPr algn="r"/>
            <a:r>
              <a:rPr lang="en-US" altLang="en-US" sz="3200">
                <a:ea typeface="ＭＳ Ｐゴシック" panose="020B0600070205080204" pitchFamily="34" charset="-128"/>
              </a:rPr>
              <a:t>Leveling interdisciplinary understanding</a:t>
            </a:r>
          </a:p>
        </p:txBody>
      </p:sp>
      <p:sp>
        <p:nvSpPr>
          <p:cNvPr id="3" name="Content Placeholder 2"/>
          <p:cNvSpPr>
            <a:spLocks noGrp="1"/>
          </p:cNvSpPr>
          <p:nvPr>
            <p:ph idx="1"/>
          </p:nvPr>
        </p:nvSpPr>
        <p:spPr/>
        <p:txBody>
          <a:bodyPr/>
          <a:lstStyle/>
          <a:p>
            <a:pPr eaLnBrk="1" hangingPunct="1"/>
            <a:r>
              <a:rPr lang="en-US" altLang="en-US">
                <a:ea typeface="ＭＳ Ｐゴシック" panose="020B0600070205080204" pitchFamily="34" charset="-128"/>
              </a:rPr>
              <a:t>Understanding limitations of own discipline</a:t>
            </a:r>
          </a:p>
          <a:p>
            <a:pPr eaLnBrk="1" hangingPunct="1">
              <a:buFont typeface="Wingdings" panose="05000000000000000000" pitchFamily="2" charset="2"/>
              <a:buNone/>
            </a:pPr>
            <a:endParaRPr lang="en-US" altLang="en-US">
              <a:ea typeface="ＭＳ Ｐゴシック" panose="020B0600070205080204" pitchFamily="34" charset="-128"/>
            </a:endParaRPr>
          </a:p>
          <a:p>
            <a:pPr eaLnBrk="1" hangingPunct="1"/>
            <a:r>
              <a:rPr lang="en-US" altLang="en-US">
                <a:ea typeface="ＭＳ Ｐゴシック" panose="020B0600070205080204" pitchFamily="34" charset="-128"/>
              </a:rPr>
              <a:t>Developing a common language</a:t>
            </a:r>
          </a:p>
          <a:p>
            <a:pPr eaLnBrk="1" hangingPunct="1">
              <a:buFont typeface="Wingdings" panose="05000000000000000000" pitchFamily="2" charset="2"/>
              <a:buNone/>
            </a:pPr>
            <a:endParaRPr lang="en-US" altLang="en-US">
              <a:ea typeface="ＭＳ Ｐゴシック" panose="020B0600070205080204" pitchFamily="34" charset="-128"/>
            </a:endParaRPr>
          </a:p>
          <a:p>
            <a:pPr eaLnBrk="1" hangingPunct="1"/>
            <a:r>
              <a:rPr lang="en-US" altLang="en-US">
                <a:ea typeface="ＭＳ Ｐゴシック" panose="020B0600070205080204" pitchFamily="34" charset="-128"/>
              </a:rPr>
              <a:t>Identifying gaps in past approaches to the problem</a:t>
            </a:r>
          </a:p>
          <a:p>
            <a:pPr>
              <a:buFont typeface="Wingdings" panose="05000000000000000000" pitchFamily="2" charset="2"/>
              <a:buNone/>
            </a:pPr>
            <a:endParaRPr lang="en-US" altLang="en-US">
              <a:ea typeface="ＭＳ Ｐゴシック" panose="020B0600070205080204" pitchFamily="34" charset="-128"/>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270300639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2226" name="Rectangle 3"/>
          <p:cNvSpPr>
            <a:spLocks noGrp="1" noChangeArrowheads="1"/>
          </p:cNvSpPr>
          <p:nvPr>
            <p:ph type="body" idx="1"/>
          </p:nvPr>
        </p:nvSpPr>
        <p:spPr/>
        <p:txBody>
          <a:bodyPr/>
          <a:lstStyle/>
          <a:p>
            <a:pPr eaLnBrk="1" hangingPunct="1"/>
            <a:endParaRPr lang="en-US" altLang="en-US">
              <a:ea typeface="ＭＳ Ｐゴシック" panose="020B0600070205080204" pitchFamily="34" charset="-128"/>
            </a:endParaRPr>
          </a:p>
          <a:p>
            <a:pPr eaLnBrk="1" hangingPunct="1"/>
            <a:endParaRPr lang="en-US" altLang="en-US">
              <a:ea typeface="ＭＳ Ｐゴシック" panose="020B0600070205080204" pitchFamily="34" charset="-128"/>
            </a:endParaRPr>
          </a:p>
        </p:txBody>
      </p:sp>
      <p:pic>
        <p:nvPicPr>
          <p:cNvPr id="52227" name="Picture 4" descr="vennNE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05199" y="1931194"/>
            <a:ext cx="2667000"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28" name="Line 5"/>
          <p:cNvSpPr>
            <a:spLocks noChangeShapeType="1"/>
          </p:cNvSpPr>
          <p:nvPr/>
        </p:nvSpPr>
        <p:spPr bwMode="auto">
          <a:xfrm flipV="1">
            <a:off x="4419600" y="3505200"/>
            <a:ext cx="685800" cy="381000"/>
          </a:xfrm>
          <a:prstGeom prst="line">
            <a:avLst/>
          </a:prstGeom>
          <a:noFill/>
          <a:ln w="5715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2229" name="Line 6"/>
          <p:cNvSpPr>
            <a:spLocks noChangeShapeType="1"/>
          </p:cNvSpPr>
          <p:nvPr/>
        </p:nvSpPr>
        <p:spPr bwMode="auto">
          <a:xfrm>
            <a:off x="3429000" y="3429000"/>
            <a:ext cx="609600" cy="457200"/>
          </a:xfrm>
          <a:prstGeom prst="line">
            <a:avLst/>
          </a:prstGeom>
          <a:noFill/>
          <a:ln w="5715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2230" name="Line 7"/>
          <p:cNvSpPr>
            <a:spLocks noChangeShapeType="1"/>
          </p:cNvSpPr>
          <p:nvPr/>
        </p:nvSpPr>
        <p:spPr bwMode="auto">
          <a:xfrm flipV="1">
            <a:off x="4267200" y="4114800"/>
            <a:ext cx="0" cy="838200"/>
          </a:xfrm>
          <a:prstGeom prst="line">
            <a:avLst/>
          </a:prstGeom>
          <a:noFill/>
          <a:ln w="5715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52231" name="Text Box 8"/>
          <p:cNvSpPr txBox="1">
            <a:spLocks noChangeArrowheads="1"/>
          </p:cNvSpPr>
          <p:nvPr/>
        </p:nvSpPr>
        <p:spPr bwMode="auto">
          <a:xfrm>
            <a:off x="1190625" y="1143000"/>
            <a:ext cx="70612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spcBef>
                <a:spcPct val="0"/>
              </a:spcBef>
              <a:buClrTx/>
              <a:buSzTx/>
              <a:buFontTx/>
              <a:buNone/>
            </a:pPr>
            <a:r>
              <a:rPr lang="en-US" altLang="en-US">
                <a:solidFill>
                  <a:srgbClr val="663300"/>
                </a:solidFill>
                <a:latin typeface="Verdana" panose="020B0604030504040204" pitchFamily="34" charset="0"/>
              </a:rPr>
              <a:t>We don’t all have the same priorities…</a:t>
            </a:r>
          </a:p>
        </p:txBody>
      </p:sp>
      <p:sp>
        <p:nvSpPr>
          <p:cNvPr id="52232" name="Rectangle 9"/>
          <p:cNvSpPr>
            <a:spLocks noChangeArrowheads="1"/>
          </p:cNvSpPr>
          <p:nvPr/>
        </p:nvSpPr>
        <p:spPr bwMode="auto">
          <a:xfrm>
            <a:off x="7543800" y="5257800"/>
            <a:ext cx="1295400" cy="1371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spcBef>
                <a:spcPct val="0"/>
              </a:spcBef>
              <a:buClrTx/>
              <a:buSzTx/>
              <a:buFontTx/>
              <a:buNone/>
            </a:pPr>
            <a:endParaRPr lang="en-US" altLang="en-US" sz="1800"/>
          </a:p>
        </p:txBody>
      </p:sp>
      <p:pic>
        <p:nvPicPr>
          <p:cNvPr id="5223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90625" y="5481637"/>
            <a:ext cx="5962650"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4"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00800" y="2514600"/>
            <a:ext cx="1905000"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5"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8200" y="2692400"/>
            <a:ext cx="2209800" cy="223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200" y="6315096"/>
            <a:ext cx="8382000" cy="504865"/>
          </a:xfrm>
          <a:prstGeom prst="rect">
            <a:avLst/>
          </a:prstGeom>
        </p:spPr>
      </p:pic>
    </p:spTree>
    <p:extLst>
      <p:ext uri="{BB962C8B-B14F-4D97-AF65-F5344CB8AC3E}">
        <p14:creationId xmlns:p14="http://schemas.microsoft.com/office/powerpoint/2010/main" val="33937704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extBox 2"/>
          <p:cNvSpPr txBox="1">
            <a:spLocks noChangeArrowheads="1"/>
          </p:cNvSpPr>
          <p:nvPr/>
        </p:nvSpPr>
        <p:spPr bwMode="auto">
          <a:xfrm>
            <a:off x="1319213" y="889000"/>
            <a:ext cx="53340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spcBef>
                <a:spcPct val="0"/>
              </a:spcBef>
              <a:buClrTx/>
              <a:buSzTx/>
              <a:buFontTx/>
              <a:buNone/>
            </a:pPr>
            <a:r>
              <a:rPr lang="en-US" altLang="en-US" sz="3200"/>
              <a:t>The Stone Soup Fable</a:t>
            </a:r>
          </a:p>
        </p:txBody>
      </p:sp>
      <p:sp>
        <p:nvSpPr>
          <p:cNvPr id="54275" name="TextBox 3"/>
          <p:cNvSpPr txBox="1">
            <a:spLocks noChangeArrowheads="1"/>
          </p:cNvSpPr>
          <p:nvPr/>
        </p:nvSpPr>
        <p:spPr bwMode="auto">
          <a:xfrm>
            <a:off x="1333500" y="5562600"/>
            <a:ext cx="723900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SzPct val="75000"/>
              <a:buFont typeface="Wingdings" panose="05000000000000000000" pitchFamily="2" charset="2"/>
              <a:buChar char="l"/>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SzPct val="75000"/>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SzPct val="75000"/>
              <a:buFont typeface="Wingdings" panose="05000000000000000000" pitchFamily="2" charset="2"/>
              <a:buChar char="l"/>
              <a:defRPr sz="20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tx1"/>
              </a:buClr>
              <a:buSzPct val="80000"/>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tx1"/>
              </a:buClr>
              <a:buSzPct val="65000"/>
              <a:buFont typeface="Wingdings" panose="05000000000000000000" pitchFamily="2" charset="2"/>
              <a:buChar char="l"/>
              <a:defRPr>
                <a:solidFill>
                  <a:schemeClr val="tx1"/>
                </a:solidFill>
                <a:latin typeface="Arial" panose="020B0604020202020204" pitchFamily="34" charset="0"/>
                <a:ea typeface="ＭＳ Ｐゴシック" panose="020B0600070205080204" pitchFamily="34" charset="-128"/>
              </a:defRPr>
            </a:lvl9pPr>
          </a:lstStyle>
          <a:p>
            <a:pPr>
              <a:spcBef>
                <a:spcPct val="0"/>
              </a:spcBef>
              <a:buClrTx/>
              <a:buSzTx/>
              <a:buFontTx/>
              <a:buNone/>
            </a:pPr>
            <a:r>
              <a:rPr lang="en-US" altLang="en-US" sz="2400"/>
              <a:t>The whole is bigger than the sum of the part</a:t>
            </a:r>
          </a:p>
          <a:p>
            <a:pPr>
              <a:spcBef>
                <a:spcPct val="0"/>
              </a:spcBef>
              <a:buClrTx/>
              <a:buSzTx/>
              <a:buFontTx/>
              <a:buNone/>
            </a:pPr>
            <a:endParaRPr lang="en-US" altLang="en-US"/>
          </a:p>
        </p:txBody>
      </p:sp>
      <p:pic>
        <p:nvPicPr>
          <p:cNvPr id="5427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86000" y="1474788"/>
            <a:ext cx="4572000" cy="3859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29168327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91000" y="1752600"/>
            <a:ext cx="4419600" cy="4114800"/>
          </a:xfrm>
        </p:spPr>
        <p:txBody>
          <a:bodyPr>
            <a:normAutofit fontScale="85000" lnSpcReduction="10000"/>
          </a:bodyPr>
          <a:lstStyle/>
          <a:p>
            <a:pPr>
              <a:spcAft>
                <a:spcPts val="600"/>
              </a:spcAft>
              <a:defRPr/>
            </a:pPr>
            <a:r>
              <a:rPr lang="en-US" dirty="0">
                <a:latin typeface="Calibri" pitchFamily="34" charset="0"/>
                <a:cs typeface="Calibri" pitchFamily="34" charset="0"/>
              </a:rPr>
              <a:t>Each One Health professional is well-trained for their roles, mandated and appropriately equipped</a:t>
            </a:r>
          </a:p>
          <a:p>
            <a:pPr>
              <a:spcAft>
                <a:spcPts val="600"/>
              </a:spcAft>
              <a:buFont typeface="Wingdings" panose="05000000000000000000" pitchFamily="2" charset="2"/>
              <a:buNone/>
              <a:defRPr/>
            </a:pPr>
            <a:endParaRPr lang="en-US" dirty="0">
              <a:latin typeface="Calibri" pitchFamily="34" charset="0"/>
              <a:cs typeface="Calibri" pitchFamily="34" charset="0"/>
            </a:endParaRPr>
          </a:p>
          <a:p>
            <a:pPr>
              <a:spcAft>
                <a:spcPts val="600"/>
              </a:spcAft>
              <a:defRPr/>
            </a:pPr>
            <a:r>
              <a:rPr lang="en-US" dirty="0">
                <a:latin typeface="Calibri" pitchFamily="34" charset="0"/>
                <a:cs typeface="Calibri" pitchFamily="34" charset="0"/>
              </a:rPr>
              <a:t>Professions have improved skills to work collaboratively with each other</a:t>
            </a:r>
          </a:p>
          <a:p>
            <a:pPr>
              <a:spcAft>
                <a:spcPts val="600"/>
              </a:spcAft>
              <a:buFont typeface="Wingdings" panose="05000000000000000000" pitchFamily="2" charset="2"/>
              <a:buNone/>
              <a:defRPr/>
            </a:pPr>
            <a:endParaRPr lang="en-US" dirty="0">
              <a:latin typeface="Calibri" pitchFamily="34" charset="0"/>
              <a:cs typeface="Calibri" pitchFamily="34" charset="0"/>
            </a:endParaRPr>
          </a:p>
          <a:p>
            <a:pPr>
              <a:spcAft>
                <a:spcPts val="600"/>
              </a:spcAft>
              <a:defRPr/>
            </a:pPr>
            <a:r>
              <a:rPr lang="en-US" dirty="0">
                <a:latin typeface="Calibri" pitchFamily="34" charset="0"/>
                <a:cs typeface="Calibri" pitchFamily="34" charset="0"/>
              </a:rPr>
              <a:t>Health systems benefit from One Health efficiencies</a:t>
            </a:r>
          </a:p>
          <a:p>
            <a:pPr>
              <a:buFont typeface="Wingdings" panose="05000000000000000000" pitchFamily="2" charset="2"/>
              <a:buNone/>
              <a:defRPr/>
            </a:pPr>
            <a:endParaRPr lang="en-US" dirty="0"/>
          </a:p>
        </p:txBody>
      </p:sp>
      <p:pic>
        <p:nvPicPr>
          <p:cNvPr id="5529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8200" y="2514600"/>
            <a:ext cx="3009900" cy="2971800"/>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141785130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descr="http://www.blogsmonroe.com/faith/wp-content/uploads/2011/03/questionma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33600" y="1371600"/>
            <a:ext cx="4800600" cy="451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11913689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914400" y="914400"/>
            <a:ext cx="7924800" cy="606425"/>
          </a:xfrm>
        </p:spPr>
        <p:txBody>
          <a:bodyPr/>
          <a:lstStyle/>
          <a:p>
            <a:pPr algn="r" eaLnBrk="1" hangingPunct="1"/>
            <a:r>
              <a:rPr lang="en-US" altLang="en-US" sz="3200">
                <a:ea typeface="ＭＳ Ｐゴシック" panose="020B0600070205080204" pitchFamily="34" charset="-128"/>
              </a:rPr>
              <a:t>Emerging infectious diseases</a:t>
            </a:r>
          </a:p>
        </p:txBody>
      </p:sp>
      <p:sp>
        <p:nvSpPr>
          <p:cNvPr id="10243" name="Rectangle 3"/>
          <p:cNvSpPr>
            <a:spLocks noGrp="1" noChangeArrowheads="1"/>
          </p:cNvSpPr>
          <p:nvPr>
            <p:ph type="body" idx="1"/>
          </p:nvPr>
        </p:nvSpPr>
        <p:spPr>
          <a:xfrm>
            <a:off x="914400" y="2590800"/>
            <a:ext cx="7772400" cy="3962400"/>
          </a:xfrm>
        </p:spPr>
        <p:txBody>
          <a:bodyPr>
            <a:normAutofit fontScale="92500" lnSpcReduction="10000"/>
          </a:bodyPr>
          <a:lstStyle/>
          <a:p>
            <a:pPr eaLnBrk="1" hangingPunct="1">
              <a:defRPr/>
            </a:pPr>
            <a:r>
              <a:rPr lang="en-US" dirty="0"/>
              <a:t>Jones, et al </a:t>
            </a:r>
            <a:r>
              <a:rPr lang="en-US" dirty="0">
                <a:solidFill>
                  <a:schemeClr val="accent1">
                    <a:lumMod val="50000"/>
                  </a:schemeClr>
                </a:solidFill>
              </a:rPr>
              <a:t>Global trends in emerging infectious diseases</a:t>
            </a:r>
            <a:r>
              <a:rPr lang="en-US" dirty="0"/>
              <a:t> </a:t>
            </a:r>
          </a:p>
          <a:p>
            <a:pPr lvl="1" eaLnBrk="1" hangingPunct="1">
              <a:defRPr/>
            </a:pPr>
            <a:r>
              <a:rPr lang="en-US" dirty="0"/>
              <a:t>On the rise – 335 (1940-2004)</a:t>
            </a:r>
          </a:p>
          <a:p>
            <a:pPr lvl="1" eaLnBrk="1" hangingPunct="1">
              <a:defRPr/>
            </a:pPr>
            <a:r>
              <a:rPr lang="en-US" dirty="0"/>
              <a:t>60.3% are zoonotic</a:t>
            </a:r>
          </a:p>
          <a:p>
            <a:pPr lvl="2" eaLnBrk="1" hangingPunct="1">
              <a:defRPr/>
            </a:pPr>
            <a:r>
              <a:rPr lang="en-US" dirty="0"/>
              <a:t>71.8% from wildlife</a:t>
            </a:r>
          </a:p>
          <a:p>
            <a:pPr lvl="2" eaLnBrk="1" hangingPunct="1">
              <a:defRPr/>
            </a:pPr>
            <a:endParaRPr lang="en-US" dirty="0"/>
          </a:p>
          <a:p>
            <a:pPr eaLnBrk="1" hangingPunct="1">
              <a:defRPr/>
            </a:pPr>
            <a:r>
              <a:rPr lang="en-US" dirty="0"/>
              <a:t>Wolfe et al. </a:t>
            </a:r>
            <a:r>
              <a:rPr lang="en-US" dirty="0">
                <a:solidFill>
                  <a:schemeClr val="accent1">
                    <a:lumMod val="50000"/>
                  </a:schemeClr>
                </a:solidFill>
              </a:rPr>
              <a:t>Origins of major human infectious diseases</a:t>
            </a:r>
          </a:p>
          <a:p>
            <a:pPr lvl="1" eaLnBrk="1" hangingPunct="1">
              <a:defRPr/>
            </a:pPr>
            <a:r>
              <a:rPr lang="en-US" dirty="0">
                <a:ea typeface="+mn-ea"/>
                <a:cs typeface="+mn-cs"/>
              </a:rPr>
              <a:t>New evidence on origins of human malaria</a:t>
            </a:r>
            <a:endParaRPr lang="en-US" dirty="0"/>
          </a:p>
          <a:p>
            <a:pPr lvl="2" eaLnBrk="1" hangingPunct="1">
              <a:defRPr/>
            </a:pPr>
            <a:endParaRPr lang="en-US" dirty="0"/>
          </a:p>
          <a:p>
            <a:pPr eaLnBrk="1" hangingPunct="1">
              <a:buFont typeface="Wingdings" panose="05000000000000000000" pitchFamily="2" charset="2"/>
              <a:buNone/>
              <a:defRPr/>
            </a:pPr>
            <a:endParaRPr lang="en-US" i="1"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3062099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1066800" y="838200"/>
            <a:ext cx="7696200" cy="838200"/>
          </a:xfrm>
        </p:spPr>
        <p:txBody>
          <a:bodyPr>
            <a:normAutofit fontScale="90000"/>
          </a:bodyPr>
          <a:lstStyle/>
          <a:p>
            <a:pPr eaLnBrk="1" hangingPunct="1"/>
            <a:r>
              <a:rPr lang="en-US" altLang="en-US" sz="2800">
                <a:ea typeface="ＭＳ Ｐゴシック" panose="020B0600070205080204" pitchFamily="34" charset="-128"/>
              </a:rPr>
              <a:t>Emerging Diseases</a:t>
            </a:r>
            <a:br>
              <a:rPr lang="en-US" altLang="en-US" sz="2800">
                <a:ea typeface="ＭＳ Ｐゴシック" panose="020B0600070205080204" pitchFamily="34" charset="-128"/>
              </a:rPr>
            </a:br>
            <a:r>
              <a:rPr lang="en-US" altLang="en-US" sz="2800">
                <a:ea typeface="ＭＳ Ｐゴシック" panose="020B0600070205080204" pitchFamily="34" charset="-128"/>
              </a:rPr>
              <a:t>                        Not just humans….</a:t>
            </a:r>
          </a:p>
        </p:txBody>
      </p:sp>
      <p:sp>
        <p:nvSpPr>
          <p:cNvPr id="12291" name="Content Placeholder 2"/>
          <p:cNvSpPr>
            <a:spLocks noGrp="1"/>
          </p:cNvSpPr>
          <p:nvPr>
            <p:ph idx="1"/>
          </p:nvPr>
        </p:nvSpPr>
        <p:spPr>
          <a:xfrm>
            <a:off x="990600" y="1981200"/>
            <a:ext cx="7620000" cy="4038600"/>
          </a:xfrm>
        </p:spPr>
        <p:txBody>
          <a:bodyPr/>
          <a:lstStyle/>
          <a:p>
            <a:pPr eaLnBrk="1" hangingPunct="1"/>
            <a:r>
              <a:rPr lang="en-US" altLang="en-US" dirty="0">
                <a:ea typeface="ＭＳ Ｐゴシック" panose="020B0600070205080204" pitchFamily="34" charset="-128"/>
              </a:rPr>
              <a:t>Avian Influenza H5N1 </a:t>
            </a:r>
          </a:p>
          <a:p>
            <a:pPr lvl="1" eaLnBrk="1" hangingPunct="1"/>
            <a:r>
              <a:rPr lang="en-US" altLang="en-US" dirty="0">
                <a:ea typeface="ＭＳ Ｐゴシック" panose="020B0600070205080204" pitchFamily="34" charset="-128"/>
              </a:rPr>
              <a:t>475 humans </a:t>
            </a:r>
            <a:r>
              <a:rPr lang="en-US" altLang="en-US" dirty="0" smtClean="0">
                <a:ea typeface="ＭＳ Ｐゴシック" panose="020B0600070205080204" pitchFamily="34" charset="-128"/>
              </a:rPr>
              <a:t>:How many </a:t>
            </a:r>
            <a:r>
              <a:rPr lang="en-US" altLang="en-US" dirty="0">
                <a:ea typeface="ＭＳ Ｐゴシック" panose="020B0600070205080204" pitchFamily="34" charset="-128"/>
              </a:rPr>
              <a:t>birds ?</a:t>
            </a:r>
          </a:p>
          <a:p>
            <a:pPr eaLnBrk="1" hangingPunct="1"/>
            <a:r>
              <a:rPr lang="en-US" altLang="en-US" dirty="0">
                <a:ea typeface="ＭＳ Ｐゴシック" panose="020B0600070205080204" pitchFamily="34" charset="-128"/>
              </a:rPr>
              <a:t>BSE &amp; Chronic Wasting Disease</a:t>
            </a:r>
          </a:p>
          <a:p>
            <a:pPr eaLnBrk="1" hangingPunct="1"/>
            <a:r>
              <a:rPr lang="en-US" altLang="en-US" dirty="0">
                <a:ea typeface="ＭＳ Ｐゴシック" panose="020B0600070205080204" pitchFamily="34" charset="-128"/>
              </a:rPr>
              <a:t>Tuberculosis in wildlife reservoirs</a:t>
            </a:r>
          </a:p>
          <a:p>
            <a:pPr eaLnBrk="1" hangingPunct="1"/>
            <a:r>
              <a:rPr lang="en-US" altLang="en-US" dirty="0" err="1">
                <a:ea typeface="ＭＳ Ｐゴシック" panose="020B0600070205080204" pitchFamily="34" charset="-128"/>
              </a:rPr>
              <a:t>Chytridiomycosis</a:t>
            </a:r>
            <a:r>
              <a:rPr lang="en-US" altLang="en-US" dirty="0">
                <a:ea typeface="ＭＳ Ｐゴシック" panose="020B0600070205080204" pitchFamily="34" charset="-128"/>
              </a:rPr>
              <a:t> in amphibians</a:t>
            </a:r>
          </a:p>
          <a:p>
            <a:pPr eaLnBrk="1" hangingPunct="1"/>
            <a:r>
              <a:rPr lang="en-US" altLang="en-US" dirty="0">
                <a:ea typeface="ＭＳ Ｐゴシック" panose="020B0600070205080204" pitchFamily="34" charset="-128"/>
              </a:rPr>
              <a:t>Morbillivirus in marine mammals</a:t>
            </a:r>
          </a:p>
          <a:p>
            <a:pPr eaLnBrk="1" hangingPunct="1"/>
            <a:r>
              <a:rPr lang="en-US" altLang="en-US" dirty="0">
                <a:ea typeface="ＭＳ Ｐゴシック" panose="020B0600070205080204" pitchFamily="34" charset="-128"/>
              </a:rPr>
              <a:t>White-Nose Syndrome in bats</a:t>
            </a:r>
          </a:p>
          <a:p>
            <a:pPr eaLnBrk="1" hangingPunct="1"/>
            <a:endParaRPr lang="en-US" altLang="en-US" dirty="0">
              <a:ea typeface="ＭＳ Ｐゴシック" panose="020B0600070205080204" pitchFamily="34" charset="-128"/>
            </a:endParaRPr>
          </a:p>
        </p:txBody>
      </p:sp>
      <p:pic>
        <p:nvPicPr>
          <p:cNvPr id="17412" name="Picture 4" descr="C:\Documents and Settings\gkaufman\Local Settings\Temporary Internet Files\Content.IE5\S2TKMEHU\MC900436147[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43600" y="5791200"/>
            <a:ext cx="19685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196858479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9" fill="hold" nodeType="clickEffect">
                                  <p:stCondLst>
                                    <p:cond delay="0"/>
                                  </p:stCondLst>
                                  <p:childTnLst>
                                    <p:set>
                                      <p:cBhvr>
                                        <p:cTn id="6" dur="1" fill="hold">
                                          <p:stCondLst>
                                            <p:cond delay="0"/>
                                          </p:stCondLst>
                                        </p:cTn>
                                        <p:tgtEl>
                                          <p:spTgt spid="17412"/>
                                        </p:tgtEl>
                                        <p:attrNameLst>
                                          <p:attrName>style.visibility</p:attrName>
                                        </p:attrNameLst>
                                      </p:cBhvr>
                                      <p:to>
                                        <p:strVal val="visible"/>
                                      </p:to>
                                    </p:set>
                                    <p:anim calcmode="lin" valueType="num">
                                      <p:cBhvr additive="base">
                                        <p:cTn id="7" dur="2000" fill="hold"/>
                                        <p:tgtEl>
                                          <p:spTgt spid="17412"/>
                                        </p:tgtEl>
                                        <p:attrNameLst>
                                          <p:attrName>ppt_x</p:attrName>
                                        </p:attrNameLst>
                                      </p:cBhvr>
                                      <p:tavLst>
                                        <p:tav tm="0">
                                          <p:val>
                                            <p:strVal val="0-#ppt_w/2"/>
                                          </p:val>
                                        </p:tav>
                                        <p:tav tm="100000">
                                          <p:val>
                                            <p:strVal val="#ppt_x"/>
                                          </p:val>
                                        </p:tav>
                                      </p:tavLst>
                                    </p:anim>
                                    <p:anim calcmode="lin" valueType="num">
                                      <p:cBhvr additive="base">
                                        <p:cTn id="8" dur="2000" fill="hold"/>
                                        <p:tgtEl>
                                          <p:spTgt spid="1741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pPr algn="r"/>
            <a:r>
              <a:rPr lang="en-US" altLang="en-US">
                <a:ea typeface="ＭＳ Ｐゴシック" panose="020B0600070205080204" pitchFamily="34" charset="-128"/>
              </a:rPr>
              <a:t>Shrinking habitats</a:t>
            </a:r>
          </a:p>
        </p:txBody>
      </p:sp>
      <p:pic>
        <p:nvPicPr>
          <p:cNvPr id="14339"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a:xfrm>
            <a:off x="5257800" y="3048000"/>
            <a:ext cx="3886200" cy="3048000"/>
          </a:xfrm>
        </p:spPr>
      </p:pic>
      <p:pic>
        <p:nvPicPr>
          <p:cNvPr id="1434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1676400"/>
            <a:ext cx="2725738"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19400" y="2362200"/>
            <a:ext cx="3152775" cy="235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12386833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29000" y="1600200"/>
            <a:ext cx="5183188"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Rectangle 2"/>
          <p:cNvSpPr>
            <a:spLocks noGrp="1" noChangeArrowheads="1"/>
          </p:cNvSpPr>
          <p:nvPr>
            <p:ph type="title"/>
          </p:nvPr>
        </p:nvSpPr>
        <p:spPr>
          <a:xfrm>
            <a:off x="304800" y="536575"/>
            <a:ext cx="8458200" cy="1139825"/>
          </a:xfrm>
        </p:spPr>
        <p:txBody>
          <a:bodyPr/>
          <a:lstStyle/>
          <a:p>
            <a:pPr algn="r" eaLnBrk="1" hangingPunct="1"/>
            <a:r>
              <a:rPr lang="en-US" altLang="en-US" sz="4000">
                <a:ea typeface="ＭＳ Ｐゴシック" panose="020B0600070205080204" pitchFamily="34" charset="-128"/>
              </a:rPr>
              <a:t>Pollution</a:t>
            </a:r>
          </a:p>
        </p:txBody>
      </p:sp>
      <p:pic>
        <p:nvPicPr>
          <p:cNvPr id="15364"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45150" y="3774510"/>
            <a:ext cx="3305175" cy="218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5" name="Picture 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37457" y="3254864"/>
            <a:ext cx="3200400" cy="282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6" name="Picture 8" descr="5leggedFrog.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8200" y="1676400"/>
            <a:ext cx="2252663"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25270857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3000" y="914400"/>
            <a:ext cx="7277100" cy="4976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1" name="Rectangle 2"/>
          <p:cNvSpPr>
            <a:spLocks noGrp="1" noChangeArrowheads="1"/>
          </p:cNvSpPr>
          <p:nvPr>
            <p:ph type="title"/>
          </p:nvPr>
        </p:nvSpPr>
        <p:spPr>
          <a:xfrm>
            <a:off x="457200" y="612775"/>
            <a:ext cx="8458200" cy="1139825"/>
          </a:xfrm>
        </p:spPr>
        <p:txBody>
          <a:bodyPr/>
          <a:lstStyle/>
          <a:p>
            <a:pPr algn="r" eaLnBrk="1" hangingPunct="1"/>
            <a:r>
              <a:rPr lang="en-US" altLang="en-US" sz="4000">
                <a:ea typeface="ＭＳ Ｐゴシック" panose="020B0600070205080204" pitchFamily="34" charset="-128"/>
              </a:rPr>
              <a:t>Loss of biodiversity</a:t>
            </a: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945840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457200" y="536575"/>
            <a:ext cx="8458200" cy="1139825"/>
          </a:xfrm>
        </p:spPr>
        <p:txBody>
          <a:bodyPr/>
          <a:lstStyle/>
          <a:p>
            <a:pPr algn="r" eaLnBrk="1" hangingPunct="1"/>
            <a:r>
              <a:rPr lang="en-US" altLang="en-US" sz="2800">
                <a:ea typeface="ＭＳ Ｐゴシック" panose="020B0600070205080204" pitchFamily="34" charset="-128"/>
              </a:rPr>
              <a:t>Climate change: changes in environment and Land use</a:t>
            </a:r>
          </a:p>
        </p:txBody>
      </p:sp>
      <p:pic>
        <p:nvPicPr>
          <p:cNvPr id="19459"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1200" y="1710431"/>
            <a:ext cx="4572000"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1000" y="6172200"/>
            <a:ext cx="8382000" cy="504865"/>
          </a:xfrm>
          <a:prstGeom prst="rect">
            <a:avLst/>
          </a:prstGeom>
        </p:spPr>
      </p:pic>
    </p:spTree>
    <p:extLst>
      <p:ext uri="{BB962C8B-B14F-4D97-AF65-F5344CB8AC3E}">
        <p14:creationId xmlns:p14="http://schemas.microsoft.com/office/powerpoint/2010/main" val="32451827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Qgjk50sGUR1BPoUJefjrmZvXTslgZuoHzhAvS/O5+jCQLytyZn7BLGEBIwkT75WwD5kK1SnnWC0/lh/tEb1BQ8tyKn58Y3Gk0TTTw3mDGFfzq+pLYi0HHkILbp3iF/ORMGkUuex6c1szJOL0xvtHziFZNuo6GmALthYnCwmDCdIB6GDWdvkbqbIyqfcvn4mvA28+nx2n1jL5abvdQBpKFwH5nEGSs+N1fu6LFmYGdXpmK46N3PgLK/JW3q+2bUr1D7q3P0bzzSaEhwh/7N2zNNe8rysy5Ia5u6tNX+k2WfSxIY+dioQjDOnzpKqwD4KBqbec7lSAHbuDNsjVMhpxmlBH5m7HHw1pkk9Rfp71uBYUz+4io4VHmg6Whh7qJ30JkzzdrG4zE8VLMki+aaRe0lJ2W8RibVpe7FmVy8jNaZQkKJ7pxTJPj0Dyry/b7nqgg9bnNbevvWe9k19Jcs+cus5PhM9zt3RYyT3l2twuMyJhdNgGDaewK6iWYDdUIFYNP95WhRt13j7+igEhzF34dK+sWUcP/54qwO3e6Pg785K1xsi+IH4t/88e8kndgDc1U8uydHq5Bpq6+PxKiJ5acG7qRWs4AcwLA6H7c6zMHWjqSrnUrlAHSNMzlCgVydrvuLHC1TN+/vxw6OgmjeaX7CAXDklIvXWXCfcnJj44ssNqX/2SzLGwTqBA5HALVqm4b/fI/ag6WzaEhpWF101MEt2JoCef9JS0I0jDKf0Xp+XAs7Yf33YiYn6eUIFS1sNho5ns+ycYfKjj/POVtgCSRDSeARfdsV6zFfF05da7sLBP+Thk4BNDiT/TFYCLQu0hF7n/bXaVPoFximEeHDPRsA0Nyd7KIDLRm6Igd5LLsyeMNGWOZ44WueZjBF9WkFoCpCz7O6Atbu5n2LGRUVwRFdLpzP3D71XPuBTw1fJVmSGQKHQWvS8wna6DJpre3B1F4jvSiUr/nUTrDGN+r3CYka0nWxuNkKQq3lI4SmhyZmUWTKawKkSwAzgL+Dz1LwW1XCM403uM1os354PvI2w8pK1SsynsU+IvrT4rreaBg22W8Q05NHsUa7AMXZCaDEYHYoz0sZOtgyK8DIKpZcYZbtpIdisRnBi+JQHHdNMVnz8UfnuyMEvKI+NV0TnvbwjN4aIJlrJ1NeSLtO2USFqcA9jw+gL+aEYzHJArmV2QpfEDJEsjBkDjE1Rg7v3Ol9O8KbBmwBYFneBprWl9/vprCsDAUVepcTdPHY9KGx8kz7zcWVccda8RPKqZSCUdYt00eWSOjYmGFstiA/C1glQOisotqgUt4ZK0L3Q4ei9x/wrmiIL1cegt7mqBlaNarTVzWFcpfv+s6gIsNZLV5ROx3sM73S1JyDx4daLgSNF/wO21wUWieG6JklXKdFJp4w+8hzvfb3r3ud24X/KqdKL1el3GfKqOlMznutl5Sdx6IqQqC8HDom1+DgH/BotBvm7I7qvYQnuWU/7EzWsXJW3Lgrabpwn4b1gw6HF5mPTt23mD0EQpIFMd+x7IF2sauo/ODbCr0Hby7QHBb1BmOa66pfOdXLbeuVgjEaemKaM2go1+M+urS8lp3hpVZJU4zxoQLxu3RpqAuUhJ6XLdDpmJPf8goHk1/eEpK+ur4ysdS2vrrQHKVNfrejwVXR0rnp0+Lf/ttgu34CLLgxEEAiErs31uATqPCYYwaT0EoRI1oXVbS2qpDIAzx+MozXpYFlDEnqK6Z4pbJBT0EwWqE3E8QYe/ndd/D1j3bqpwYI0piL5DSR+0+grU5ac0zzWeCF8edpYTjpbCHAAmaDcNrcvXYcLOXbwDTpRFeHG3o+0Wl7w3v1O13GsoaGNyYC0scjajVtkBP67+fHWeZTA6YJw7OfZanJDW25LRquTjbBVbXvLJ3iToNl508bOD8BRaK0X7g0JNzM0TOq26UYXwd2NqbjeIxT6JJyRxu01ToX5vT1uSEE3SjBRGR7SNsVwC6WroWjlBPEcT8zKBBIdMyEtig2AEJ4gyNG7pKJz9ilHfrRrIaBqt/9Fzh3g4sd2XzzAQMbFaYxavRvYHhggPCKCjSJ5Z9M0OMnJ3CT+UTV2c1pS7FdzW1nO1BqcXgKg27O2c9KE3w+IYe0IRRJIQKSEjRmw0KJDpYNA5MLUM8wO/iMLmhEmq/cmbS2FmhGqD7pWyVa48NKFnqu4hRr+40UlnHd2ybmuxOirC0GrLXu1LeWG1716xbhV44oL3gHpmQt26xwSw7jAkthWVbIkqEGHqFGEO8V1nqOTA2zVusQ5PkucWfMeWlWclnYT7+4FfeMpD7o91DHTBC2lFjvzFGWVkMIXRzbmIBp29ukGiuQAzEEjFOiIgoYI+zDJpBhDKzoi3ojIix2KLvRnlQhjnyZLIzgzySceXXyMWV2+MCg4VKaJD+LeDAblRiC9lRAWr+zE5NaucmTZaeItb6+feNU1SsE5o0KTGwtsro0n4wuPNc2uvMrbFM9VeiT45yYpySA3QmNBE0z7qNxdtEbtR0skaxcI2CSp/r9TdeUfo/eFSNuCJ82eavqUU8TmZUpk8Ngmq1W9icB5MSKksEAO4QmTGyUq9DfsQXSAIPDkZ9tHRZAXwi7akwQjfbkdWKWSxf77KQydUnVFUFJUMPHX+8SE4L7y5CsOZoLZSjdG2ioupKsPxB3qh+Zi2u/IM+n3HaSAgwyGxzCWoLRzoYaKnjC68d8JWdyxVpJFocNcgXl8clRD8FTLeHQUb+KKGd5QJ9nMSMRw/Y1sg5hf6O74pSYjhFQOGrmG74BUeNoOasEDbIk71tIbGSP6M2n3wSroReDiPbXLy9AQeQNg6fOoZ87g8tg5Q4vIp8JAvoDiNfxnEooAh8k4JUp9LzoRKxBa1y9q8CYtlKyTPhsPxI5t0A/XsIRXmcFhLj3DhtxCIm4rjjb+ljR4Ux6UDWJF9dZvmP9bmb30ivQfM92xPkEwiaxPxKub216/nUXd+5giL4w7IV5Q+EkSFLoTSDSlvm/m4BWhL58uRl7C86XmVu6ZokQ5qDoEvTRu5C0yJGJwNTrJVu2djXjhHxaJE4skVcdvxnjU8JPh9wILDMSYKvzqHvQs/keA0j+vWvShSuHPkQpiHORR2v2tbQPdpEp8/vuJHFvYMR8mxOqoEzX3TTPQ1M4jE5UL1esTOy0AgTDwa7ct+ZEESDmwSQ7o+HSaVjJGHxWYnpXkSqpzksZe0ju4FjuqrnSzXBRiIkyDMlfW41zNlBilPabLFeoCmOkS9lC7MYiRq2tqsyj029kka06jyTQmJLcQQ7/sqOXaEru0duDRcZxakJnjfFTi4Ry5JJnq+cjZE53B+jBSrmFjKYW1xtFbkP8C/jeYOLh75LtDYdfN//guPLC1odvNlgZh8dvLGYe8b1gAVClH5aJ42Lhs6j/CWQtXp+hjxEMLap9gEKbky3CNfgCCsFK/RWkOa77wOZXOoq8W3apDnFOasRFp8OyhBudfhOIT0KfifMCT4CRCL+1le+3+2iT8hY1o/tf6Dwvp8EK5cKAzTWhqNpINAPnNiX2bruFx9cdBUR69L3IeexrxNw/uskIYbc3BzpHPN774Z8BfykRVWRrqnPi//m6ygDdxYMSGmfGL1V99mTWHVIU3nmqPJG8cfqjWobo6nw+xSgLNd/mieIrZoustfgdo9Juqj7czfTMxn1rAu9Fu8QMYmz0WQv2Iu0i4FYL5Vvjv0bERF0nNRRKuB+W0t9FGeQ3BbRnoIgL7/IW0XW4yU5k8ZFC3HXhe7knMABe2kRzBxGwSJKrtGDK2exBc4CfenCraMsAXq/FTuOk863jPasirjaXSc2LJBpPbcBCbgrUDxOqKtNsE3UEhvhMxdwbdwq9LuAXdsV2ec1VKNG+2f0lRljXVXlwQcziFk6t0ZzUlvQ8n2ryTsS8buWnmvKNsIWjAibJSmgUPRik/dF0uwLj/AAYs1WHYTaddpCTiL2IZ6pKCf72OW7zqm8/91BXHzhYPPmQoDOPgPWfFEUScbKa/qg7BXA1PZcXSU2QCVsImn0f2qfZ0Mh7QaHwX50xguWJpHsibfyG6GhxjDvGqwoItLtsbaGuSNNg8+NiWJFtCE3Se7gvPABQUYM+7fXtk+i8GW5sCUx4gZeVMfK7Geh/gFb0pcAruXqexMke4aeMbSOr7qwel5OeC59zkmcZ2DgqTRxN8L3jONFUKBuR4lVLbT/X0Msvi9MLJW2F1ymu/JGNbcdoj/QcfgNvVd+n7gAfpf+NkAR6fdXrXO2qZNXZk66F14puIAZJPOidgsk3oW62XWR1jbLltKomAWn2a4lqXiJnxNlRASVOIlJPc4bf3wy4Ym4oYNp1jN5h0yvs6EKz5iDAVdQwj6zWZRxyGCI2IQHKj3nuEn9YB0mBZadj3zXNv+i2ETmr8M3ioAihvvEuFaePqzUzujCQyIg3uz56+ldHxYwKzRlVPTcN1GEqvfRs1AeyavqtFT0GgDidfEh39XeRICC8WbqkCmUS7oXa005p5ev95SMA6SJfxz66KBvWmXhdjBv1NH3QLUPTQTf9MXGpVr8r4fCSvTEgXF/t36rwpop72i5scinJBz/noHHvQisd6DA5k53xFHojVdEwSb1kjQtrQb3ybC9gwOJSeyOs/vf2OO5tS1qodmzPnE0OPPe88lLEUc8lS/R3Pko9PdJ+MisrmGBZDr2wVzqRnoJL0IhKrIOvd1/vau1AdIEiNo/EXkVi2qupIZeHubdOmDkW4w/kUmj9qT5g89sTBl8tMyE5T0OOLYcT0mbIbzd+sMAJfr0iVWyjccday/IDz4VhbSeAAVJg+fQBt7Bf7fI3ED368KWi83yrb6uZLyoYE9G0etzY49v2tbl2qnZn2fp4Eiy3SpI1B9mVRk4xkSWZ7WbQyLMZ/V7D1+/3bsd69pIvjVF43kQIymAnagyBZ9H+N3JGgST5K8vTEVjpFRYgo9fgUPUfeRuT3MRrysamURPTxjqDMHmXbGAyYyTpp5maWtlqCk/h30gQ8ueDvMGyOOSxsg5wbj/CFR9eWnpX06eZhACJChxJl5wSOOyymZZoogdp8xKJxpUFxmCTwcgb35Ek4KmZ4iR6JXazwbJBuWTwUefO1bLdZpon0SHsLDfrbCV6g8rXc7CJiGwwo4tKFvKLLlKthXjDqgSjBbblDSHHqa4TIOLmgnQxySrs2WIHwnCf4vB9MZ1177juzWVScIqfYpp5RXDP8RoTJIHn5zxhneatB/niPPzFgp2rlZP3upiomTrlyBLpu3t8b7PjIe4ez1wpRZ2Q093JnDdTKeWhS+n3VWDPjs2YOlrnhAflfQOK9XCf50Z4RMHOe/dtvRNOMZC9314lLekrhsl4RD4fAi8QC2FPRgfl3/PuhXFddOaGDmnGshZbg+HhzcYt1xwvqTLngERKu4YJAfMKWv8GpC7M+lBXJ17Sek9a0/oK0XbOTAJwzaVdkkft1kXFUUR3V+DiQqd+vSQd6KhXDJ3hlEuNoc1/BR9oM8ED7gUqthnSEX+e8qLRGTw93/YH1KZUlS8S/5O28vD8Exz9eQFgkCnPQ9vYm3mqBWxtjEoDJ3CWSqdXMknmo2HoQbK1GLgrArqxmzc/krc5WMyxuEnMi+G/Ax9w4Uoab+SRckEf/70xp/3Cr8PEYBld0Vl1hVq34WGWPXk508AEH5EksjV1fs+J1r1EXQHJUnXMyzkaamXlkxZ4gwK0j5sPCXjAcrGWYxVC3i4DloiGZS3OkQHDuEo24FqEM/rd5loVrSKmcBK04/3TxWa3R/GIlOTcc92COtNyQgW0NH5DrsRcurh5iD/qyYYWK77FUGBN0Pn0FRyMmC4sj0voUpq7JNA+aiCQ6B0jqs8aI03M1uQAO5p/6dSrHw0m19EHuoJu+CtfmgMdR3kONzWZm/PpPhWK6+BH3ax1sOaqhOo8nNvHFuNhk5xqvkrXbGIaLtoxYxidzAc0Gh1/lUp+Tss0qkCqKwWlQmoTMk/U3gKjt8Vy4wJ8l3AL4pexPdd7KudzWx0TsjxZaJ5fpI+hG5tBgABQhKNIbix7zja7JvI/Q8fV+nvKDvJgSB7lHE0uz4M92n2LNsvaz65BSY9sgVVMAvmua3iopGXkp6vFIT38VXK3iZ0g9RJCDj2HEdsZde8uj36NeMmmRXzwbdhX6hg0YzS29EBgTRMSFqLxLXUaSP0a4uS8e/LRCXBRAMU6qGWRMhSu5sOvWZFBCR73mJyzde4z4r5OFp3H5kC0NuDoAeynBzwyhCAbDuJbOJZPnEpWim1oJb6g4AyaRaLhoTFL8xuabJLkdY2G+qiEpVoDJVedqBFxiZItWtEJgVirYDCcNqoIGRagI7tI4reU4xaeEjJMKgaVJ1jvBZTD+IwlM9lX8Ldy/ZyJuUgxvRERiY8VGc4Q4vP/xAyFH90riAoffzERZsTR+KipvPJ8xlFj2e7NtczJ/BgKdrJo3i7HKN1v1SwK5qC/rzDQYMeoXmsUdRA3Oh62l1AOYexcGCxPuNwjfqgc+74VP2gJstj3IHlDReS4woAlh8bGGPnwVXJhVIEP5sDFvnkzFRUVVI9hH+E9YcMlJog0HWuD4HqggqQZHFFn2CJ79Vxsttu6TXpn0CMZ8LGARjiGcZeRLEZ4gVoTCkopM1OOsVy1pZko6nzIvtslK3RfXfppSFHrF0gawIsmCigZPHFh46Ar66GsS8YjuEvmupuFN2SSl/u6YnZlow38UaeDDmIphvzPCc9uHuVF1Jjuw3v7BC364pGX1M0XOEuZWvsLyKLx5nxP70KKqM8qe3/lwBOq7p/UBgfpI2gVfTf36Mc2NYqy5G3a3nt94eSCzA2Hn8DHbPLFwV35zwiYd5ihkTINsd6XB2017LfnKZ79zFKQOMc7W3ndYQHsK58HCZMrgAUZIq/JTd9/3u1z5EZBZ0VlF6OkfbYzICOSUJ6xV7vNlZc1yAeGZIwxzvkYKwZsPYxfC3P5BFalU9IkJbFWxH/T5mmiEniRuG+QIlD3LE+hawv/e4ikEU10A5VbOZNzE+FGs53BhWxk+CO+sQi2l/gp1wsWJPWVJJG6ChgSQsuOZj/GzwTZ4s2nrJIxrxO9hWsJevDNSAH1n/PWXvfeVEHtWlFMM5Lrgorv+Pp2CoeulwSOWEicIxKWlxl4RkpPUjAytwiHcC+Ou3CGVEibJ2hwGrIt+iFgN9L4lBdP+hiDWoNw3VuukN6BFrsW6o66QDuc/yYFqcp5nGMOkjHlOizuYNXHuH3bAklDQXpBkDWinIHkCNXS3ECWGsOs/DosPS4ht33CWd7eaoGu8rpkT1Gya6lc4M4f11/hLHtdmzYDDC2YkkhmnAvSpy9BYbwIY4yHPP2xDddLXiLuJtr1urddlX3tkF1SOSbilYyOqcms1uKNPN6OaQWxxbXmKYqj/3yd9C38vKsu7/a7FKxgW1BWLlekZd8f02R9nEKJHeAfGfGGMCSUbTdvmtXMMDH637eH212VLYXyKLmZL2GINtX1u+M7NtOY/03Q8J4kW66roOqJg8ULoZtk2/8sihObzmxVN8AmmVk0biEtEow7j4z9Yi/eoTfFn90e1M6ESSZ4thhY0JsOR+Lv1G5yycDvfHGTPkbc0sRhUMN2v6BcC6xXNSrnOeh3QnW6axQeMJjYO5xkv2S0kXxgzzm/TVj5ltHWWdLghrkFJEe751s+33SIHJ2faZEL2qHaMRpD3atWvsM6JteFA7ODWhIfAlnLzi9U04qAESuN3LHU1GIl/zXwazd/lWLDXEbo83XkkLPlMaXWK4a4UewTLm7wCK3tSZxu8WESI6gM2gU/o4W7O0+sAE8InmZsOwK1texEOV7l3QyPhxVmYLbK7x0iKt5eqcUqo2hZDJCsXmaQwBJqlMosOY7UuMao6323K+VUQoQ5P/yUpeWdfSMOMKm1WrlD8RsqLeC0uPnF/8yu1iy5M0IbJz+HkYtGq6NID9K2bPknwIZ99jU9ZNIfE5c5+i8dePomGOJ7sLL0rYSW/YmwUN929QQPJKfHRlkDa09c9za0UZKBNyfJZsVe0u3bZYN02/ubIamiEPucNepJ2hYUfGgEW0vCD73cWQJUtmkd0+WYC619gpcCi6YpMbRZcaaoB60sDwC0hpWaFAgv1cE2ZtOyT4o87GNZoyiSGFQRzXJAowUe/Cvp73Ulc0si0TRR9FjQVrO09E+FRTQ8ACvWDp6aQVgrP6VeAJNlPtciavXKE0EQVH9aC/NZ4gjsMt9MC5mN6ocdPSlHzqei+lLV6Xe3EcHdpOiFOvRXve5Sk73xnHnhXH23vmEwviGy3GcPFF2TmmDICv9a9xlXqc6upNWYz5O5zPDLpl8N9nBWvstveBiBOsUCTBo+cDntJtNfZRLDuFCD6hOZyczvFMLkGOk6w/QUX4dYVTFV4i42RU5wNn9XBNSHoeZbgPutCQVos6v52HsB6ed/AmBU/eelINw/n5BuzMPbI32gq+KQ3WMDEr+aiUDkgyzqLtXssPrRFI7gfLvvQsN7FdJjP2nyq/EhWpeW/mp2GUJfR53I65VrOpKQ3AhOuDqpOvBWykfRAKWQ0UjeIyNxHZRbd2wxW0s7/yb1sEdjovJ7YU0Sjcnh1DD8p5LdGFf8e8F4ZoT9l9IDJGCYIS7gjxm92A9h2alBP/fHvB8cZeUVIqIWzYv5m5tIJcgtcOAOU6N7i0jNPC6AzLvhzPZnDHRMkSaoItDCV/ykn/+KN4WlRBnYt9U9jHWsXLrCHt/ceymoEfiJ062kyLnPMsXv1hdy9HO/bdhEb5FE/6713wlt6qA6lPFO9ZEKuRFil8o7Ao2ooS2Xs6PmAr+RFt7gJYmPK8ryg3oID5hiarNanG3rSkMxkUjznKZ9OkQ8JbivEINiFHnSShprQclYqCr/NuUyN7mTPnriHpmIG8sKbe9FKK5UcXHfHCURCnbuWBaSaFVgjkG/Rrksph6ehrf5OAtxBDHnFVZ9J5f2j5ta+GxKZGh0dMRqdAcHB0evIuja67OSzlxkQRif+NtMJO+KokL3Uu1AfPuHEk3ckradR4fAj44avqT7ikDJ9Jwqxqqb/nIAlbRZ/daVyLTr8cKKn2/Nl7Qp3bxgdH/s1ebixZXGfU0nmbH5afjkVNdF+fSxKk9GvcxfgBxkAr5WMFDlhco/rGv0Afhiot4kx39edkpsCKYRquZcDHCA6tA3qkPVQrM4/y0rD5C2KGekMQlqQDv88jgSlZ5Z3AIJbGXaxhKkpPOO2vz5DF8855exuMBKsRR+40oxP+5x0TNKYkUW0qx6N/VTS5eWQd46s4hlPSu43R69GRus3JoNNE2B/e+o8XqaRkMHn8Lz7APS0H1LPkJlQigrBgU4EZgDGb3SEPgR9iGN07UmL+durZxXPOkbURo96IctANGYBCl2bu93lN/Cmwh5FfvqLlBjyVuXvKOO5R06eewGQILRDsfZZZCgzJam076hdVD/U7jQ4uJYWTA+e2dsqvH5Wo5H8IMqa+Q0dtpsw42LfgaMNtk3Zse52SuCa2OmGqpXELpJ8iXFZFe4PkFTLV3zGDqfgd+Eq23rU3Vt28g3ahPf/KIH3pt4VnU+W76432s0idx84jv/TwpJEorpy5LlaEPhTbohUHhsFNoYcl2Psy5kZ6YIRjv02YNGk5aWDbc5FeWhegL4+aN72RVO6Wou8Gcz0pq7EklniNM2zxKjqbT2Z/HxTEfibGFhfeSGVJsjJGIlhLG81nPyVL+fHtR0HUAu0UZOSuwPMm7HZo8qi+I4l0QEPonR90pGOESJ6FFoWp/Egpjae3v1daepcfh1feEGAf57NYJNPgC866pqnwQbS9n7nRm+bmn4XAlLtVFJE3xGWB/wQNZ4gS5OkhatvaPe89/m+RpOHJEEDd+2zM79ryhU/nm1xu6eVhgdWMokf4PAFRrJ1iC0aN44Fj7dv10TPz8lV8FIewGDCuJUmitcjirwNQMK4WAC44e0k6a5sEK2qqL1KGkk4v8CW8T8rUFRgPpVthZtypb56k+SCJ+DSvb/HTHw/r4z6hCXo1WPr+IfoVa1bea0o1GiVsisGS5HJbsyXR9k36fYuvegEWSe26sEMXlFyjcVk/99+iS6+8TkUCWimy/QRWj0OFdBXFw8ULVJpbeG42vmst8z1WjCA5JxjEWEjYKb9t0xIMq2wV5FVKG59oC81d5KvAuHurOKYa9hYF7x6xw0G2Y9Z0rQM3+ROUJglAot8atf2mYavosUVTCEkFE+0QNDaBmUlqNXyHw16XKPH6NjOlIzzMJHTDTvhVi3Gp0/lD3yeI4Tm4sv8jLsrmJ5hRWKPafS1vjIWH2LSONf7SeUUyjvHtiJPdLK9FGL63/7eMX2xFGiHUGBXOy1ZEyajAU9YxIvMeyAnkfk+XJMPUSWObTXEHEHCOOIocJbHhKL9xi26eNfsNGwOwNMd0TD4ORVz0c9aehGchqNvX194Y+nfj0oI418gEkvvEyII1LY70ObwvEfFHZBqVIR6j0osr3hZdlJ1msvZbo4R9DE/t0ANDHe+9UybyIFfM0lIvIAoiUVG5yqOg0pE3hF6dT01q5MnjH426Q00EsmVGs3GZhAiM2BvEp6lxm5pFMaa/Gf1RRMHo9mpJINrZoY6BpxwM286vazUaqUS1+GiUdtXSaWWr9PTpilTZEVkIoht+0w+xD7Db6nemrh32YpcZd6RGeu0Xv5aDf3Ue96QNmNE/wp0AmCdp2rJQFi/uCB4wpXjjkh1UBP6L5LoAH9AhiIMWna9UxaH18HRQmcqXONqbfquCecoa8XCgFifUiAEa83ZTjzRbghfJjSCKx+V2yBf9qP4YPofr22qSlNuSk2F0G17JmnxBv0AOmRwQaMdTqw3jsskxDjSFCJjHPIbBCW2vBI4hYQ15MN2ZgCedpxC2z16vR5keOpBgk1Bvysfgo6qVM3vv5Z3arKThAYp/wCZZOvTafXAXSJ4E+a81tEVym7E0Nx4Kl3ATwg6t5/qS/5FOJzdvMpaQthcXu/g+8dNyx3sLMnQ5dCNXSFjsW8C3msh+xOowA95f1lYKhi4Rm5qGz1DMA/lK4a0/rIc0FTYxebN4AqWZ7vDuNVE6lkWTTCpL96GDhHq10PUt2cDI8c+KPCqK7fT1XEWJm3JA6vuGgocdRf7SG+/pmeDG64kNpd6E8gTUb1qUgTI2XuAd2nWZ2KefdrnO2GOylOHLRrFTnba5TYVn8jrqAcyi7ClCkQBvVfZowiEygzw6dmU7uhB1GR78VeyoRNfP3iR16ojFMjxLcC8uu9MhA7Po2qEDecFwQpWLwKOSpYO/LBL2laTzHj1SX5cA51diBQy4onor2m6Hdy1VpItaYFuIc4uRtpt3Ox68DM3A28QU5GNeFQbr+O6y4nnttMguxUdGPrpWFNtQT5ch9uMMEn6iiwqs6Us3300Vn43Q+HCUTSg+Apng2qWMjLiYck6hmpQi4Ej/YRj4imYqmLPmjSmMMo0LHEOAm0tTO5eIJW3n3XNcpN4+bjR2nVai6U4SXiSOMqAT4Y/RGxAUWaqCB+YRfq8LYR8Po4oyUrrtI4YgBmW+KlgwDuIwqxe9yJCcdP14/iZ72AHce4FBtTRO5soaptiwxenQWRUVLHeArezdFWG1PfyDJQ69DfrwYTRR7h0A8lk+2WNLs98HVndmLcgEDeFRrDk6QeCnfc7wpuVvvNXvTbh46aIxmWwX9kLCama3bYZLXEIlBFrTb0gW3YDKzutxp0Hijur/M3c1bwEUVA+sEx2F8IIn4BnbCXSEy3WcaLgjsZ0RuWK7Zt0rR2D+CMehsuUQZC+q0FetlAasgkzj4Hhya5qhvbmTdsgdgalCJb/SE2cVtVTMDNcp+xIqKJVqf9w1fSTWw0YcTlL9uE8wQ2KHHsH3Xv7FF5WAgbWl148Cxq7HNruGt9Qag9pbo6UJlo7aH3HP91X8+mpVNx3+/7RNW2qaLGcOAy/FB33ilWXTO6iy1oCPlHhb140VfTER6pLSdYK/xmRTJI9dEMgfiWc1jzXH8Lnx/fpBgbjv1s7jxBuHCchgA5BPKh0rfHf2mgkyGq2wWb9lY9wZejPb4fA0CatQS9ojohPMklbdq8q4RhUHF5tJ1aBmO/oE8RRrm3cOYyqr5l8DcmwFhCya62C1Di3FMX2wux9XoZGsrBhp04jVhXLJww1sQxaGKdG7HGxKz5W6U09T1Djj5/N4HIlJ9TOmg6/MJ5kvIyTgH8BBZZ0/rDtpylpvuIOiagNODEs1yFQvDl7t+olY3owmG6iEwnyGSmqAqL5Fbx/rlixd7COmIVzOlVaEcPn+ZbH1elGSoqTh6jXDQx2QAY5tw7QqARIkceKFr9iibCofSNgVKLHykN3r3NKhbQx6Dy1w/nZV6KSCQZyQzxWrtxDc2oQ29R/mwFm7qZfBqtPsV3BFdHNvbTMrk/dL2tVs/wU92SneWGCBwmUQT4N7mMXGd0uN1an4G99Lu2YmxzpQ3+qTxm0ghhH5ioC8DuE749pBKYLDeRzgxddVQPfz+Ci/vpYfCQpHUrrD9+pcVcofyURPN2IBX6z2SQBOW4/5c3m6XtmlCMCEq4N2Zgs6FNod/grahyT8E3R04QMw0om0XvnP1/hA+hmnUwoFVgYqTTKyYEyTZJPIjb1Z7w613qkxc3WCJd9osf/6g35PVDTSBgr046aCq+OJjvaFbRuhuCKfFNdz/qgQzSjRfPCCXzLJaYylkjGMf1PU3czK05NGvM/DpcsLHNQmdCl+oteTnftxrP+xSxw5t0G9A7hN8HyCFyHe2IuYXQX6h/W6Df6e4QOcgUV8arEIpukFRHACiH2JiiHhXFvbd1LWBnxSlRQNb6GLOpBodSgqBQbWgP+tSFnVg9VgA6QVqKR8FlUWsY6ZfwupJPKzL0pslpdPyWZ2wQgTTA6+oPP/H1JAY4YCKlv3pWatnN/Xp+zbpxMfKMm9AgUfX7vbDTWlz1Dj8VULMW4hKGVMnhKDtSAUt4KpAR0bt/uJ4DcdfqKHLdeWFqslZztc6do1UxlUT3VMEyvvKPhkEy7IeJnR1WHTDQKrVuWLX/8CmXGBg9IM9Gf8eL2eM3fAuY7MYiw+5EqsWGCtdcwqxP42YZJXv16Ol+13Cey2bGP8T86rY7Hybm0MiAAcuD49aiF46d6+/NOKNSfRD7AvEn5MtFc4KOvV4X5qXfTQNBPgreIWwdXtyKd1Uid/Fe8FqMaNmTAtVloRVH98jsBvae7CsglcTBDTu0Vdrpncf3GozQHjHndvAD2G1omsDvAQi9vOJFJIkQ3G7WIkN4tPyxH8bY+D8bZVCvAIQC/+jEJZwblxiaUFTP2RyQQY/SBlkSmSbsNJwc7BGgVBoCPvhgwvaj6YGjRyU0xvEqGCtt9q8/5O660LmITFsR17AvAQFuxQVr91Qp6SeCvMRgALDctXMefplcusRhjKoJ9iQAVTgCJIkHPfCWKnQYsfyyZGyKbD0xOl08RwpCZceE51115qOqY5VevOtTi0zVG+i6FVdXBeHXnDFWJdfO2yd887h9ODOo+IL3KchsF+9igh1otlsMy4Q/FEdAJXR7Bs0AsxgzWUOOcdwSufteZmllHCzyBB8YxtIyWD5BL2f9naurMEtUQvaFnHnb5NDP0vldD1oYMZcMK+HwRouggt2lCVldYumr5HRSwlxa1dzOgnUpmbIvKsXyC+CZhKauYMI0bpafMUmsYzh1M+/u1pUUrZUKC9ZW9UXBVfpArAStNfC6Ptj2KwWqluYcz8w7YTSuB4OPxYZvzCH+O6CRA/+xtA5jB/dIZMFaU6gk6v9sSBbiknOwApvuXntUF/bwiVnc3C55ffMgu5a/L9fVmMivBWHxzMCoAxmwoobyk4TnC2RsJiNaQb1qkHjnx0sUtOx678rXLCABljjRIazTYE4OFbH1180ADYCq3bvz4M6jn7D2FZEmhXwy1KqthNq0BbtMOxoZNMiMP5tz4tN87CRYiskQz/fiNSR5a3n1qLZ6gLEgeTjP59mYYp0uUTkoLZX/P7jd4bxPN5D+KUNdEyyzQm4UzAgo1+n+syTorTw9+VT4JJ5GrD+4S9iE9TSOgmAby/k6AaZxC+bIMR5y8MG/hr+Mzm5l7zBY/nhEe7flA0jHf6WV90/YRWJQRFWIeY5ts39c82cwAt0ZBLZ3zmu6OEMJQIRLLHqK/HU0UhpbrtXh/BHpRJGTgQfRns0oFNmtLXdvzbnU4WajfuAL+CRzRQPTqscmHjrQikgjfdcqOHO5lqGIaHisOqPlgOYD0IiQzEeB7G4yefOnS2isRofL7MdHaHoMlT23HwyGSqfPJLYIR9Bm4/gKzwxTr5d3nPaJ+EU3e/ZvJBCRCFNNEhLf5w8mVpz0cksWLp/3IIdkuLeHKY9qJa7hFB0HOXmAr9ehWuFIilpl6qmE5UfV1HzUSrmXujVdgNCJokCWP4zgs38JnejARNQlBL879aYrG8cialOoEpb+2zuc/rmVTQLeLzxnPr+U3eSA5OBl22U/5TIVSFCDZanNuebLdzNwzKFTY8L9xUEc5M+kSKx1sIbudPsI9kOuoYUHKoZUjpzbaglNp4Y6t3/Od0/eW1wstguuKMNF3aLGPkZAc4nEv1OOv6HDxt81VBiccZ//Eetku9f1tMNSD1H4w2e8CREIaz2qdJIIUHYAWk9uxxTPK1aW2mprdiyTr1rAuZahJp8PNF58EXs6J5I0/5EjrCHAubGT9uPDzsKzhIc6fq8tti7rG5ov8VRpuKhPKyLUzTzAYYFF/Y7mRHzdDAQ2lY5dPEqA+5VYtuC6FxQIPfWd0LuHEeisp8j+RfydfF+CixBoZZW8fZMDmD0XlUexwSSaC4YpppaICCa9pOdUg3sLz+UJr8BjCLyJxIVs78MSjzJxAqdIIQ+my5R3ncjgfXUmyCXMijDq8BwpUm0YWKcNi9c4mvB7+7f7SRKcxprtWiH+krLCJZqG2W4C73MVXH0FjBlPdvQ9/e1E5ghtDNmnDTU+Ji22ieh6cifp9RkReLUbwzm81ZvdeVOfvpXGlF50NweMOncI1/0QLwGgnlhXk10/ffkRrvwy8wbM001DKoPePWANdcADocjzRPPyu2UKrucVXhTZA8rTBsm7mMVmN6GJUgiulHiszbTjWbSEQNoivSsH70C+1xTMlbylwl6iu+9L8Niuawn8mTQueG5+SjRCDAs/viGYc3z7chXJ3G0BnRd+ycRTY+9DWpq1sbDCJiIyt3iKk+9V7cXSF4nmLmKVKDeMHUD2ErbVX5M7ZcUCCKlpnagwwnMcKtNBL9FX/sg1v9+tevrfb4Ny8g16d63TNw23JE3jTbQkcfMPUYA+cP6JL/B0xg4Asd+h677ctncYcFWOQmOqCyc15hJujlPP1ZeuN1DTt+mSXpdzRXNT3fDQOXK7TwAKUXjrPfpE7BhPQpsfL1R0Eh5haq1mWlC+EBS1+kFyMarslJqd9etYClcJQtuyFrPku4v3EKx9taJIK8K7vZ0zmD7oZ7FtKRyDB8jJnZX4+hn/JDu1DJsh/wh6znjxWvFZzXLrOLHGs7kNXBVKIovICZ0kO176vJsywMXDj5Yh2/AuuHXub5YB7sI3BIvBiFZVvqcXoOa8U4XZ5XDKAkZ+NOqUkS2TomSG2pCul2MdopAnoF/gainG+8eUM6yNvZs4VDsbmcarFPqgGUm2pJT++5s4tL2M2yhkJWDdIUsdL1KXj9ZMJFcfkNYDjxu5r0ueDyxvUYcBLEJHdv+ni6eoQV4hIADzxk+yrjca8BTNOnAq+DVJ9/Pv17uPggXAk8fDnOSpDSq6TML0VI9kQWIJkBuxDOmeZ51qjyzyrLDzVvmDn3FHLHHGHji9RD7NFwSIxcdhV4ol5UAqKXVXHWhyBpHSZZHB6FtB0MajN3mMuKIKHnBSppYCd1GbzG+oB9NOZNp9GMMlNbwQ5Q57k0gwps+S7WO0D2VaT7c8RTe/l8lOF/oVaJyXkOC6XuL1riNIb72hBc76uDOwPlRmz5Dp3hb8Ndntk8lOshJ45M0/BaPsKQ6GWN69kc0Xc6gkzBJJNCvdxnbYgz+bh3eU0OlsEM9G3jT+6qmiWFZ3s1wiW93nKdwMKelKevuWwSp+G0fA97hq/7byHUbS+jdkVYhCF3ilI5+NNXVLmiwS3giUS6qG8iSx16sqwdoLTB9zY2O0+rfAABgjIP1Z861t6Juy50THgwuY2blCqgsDlL+x4bi0bVgKwwqi/hgAjZnRyUhUoW1ijOFjNIoCEMTcZ28ADkmt/WojEasl9fk/EAOO/lrQsKgBxrN3l1nHUMcT/ql3vdtPfN8fzX6fnRxxmEN9dCQOb1B2Gfl7aS/7Qh1RnQDhF2UxdZr6dGcBKpvka591IKfc2a1xEnPw7ORZGlRLCZIdTHd6T9SeLuRQSZsx2Hu1LrATBXqptWdgLZCTEZb+7b7kot1+MyLPcbzdKTHemBjv06aIT4Ae0N+02xKo6v/nIV4TqqUQEbA7aBylK+J55ToXtxf3PcIUAo90aB1ilcWPf2vYXVpGCWfhZlWwTl5clRDFuOMB41b0gcUojANEP76lQNkvt4eDclLU72iUDmoDosLMLp+Lgs7BmwWDqp8jyIi72367w0/4Rey9tMZ1XEKNPi6LcD2SwnUHGzx6uA0ci/h1xy0itFecWkTIIb31njjgDRM5I4OAA2LtD30qAGMWj9NTVN6E6cdXFb//6dOIMAC1nZF2E7v1PqWn5sHKfry2+kazIoBfRhQFvhnWNiga/+KBfhPKN50INo4jhSoO+hRjA7zOlyQbv1bPD37ZcHTTvScf9kAM4c2rmUZ8pinFP8BoU2u5Ik183XVHh/x8polC9rfF+kkDnReDboL4kYNo5qkWUo6/S48mZ9gM7RAANtyiD668ZrPlGldDzs96bBdlZLa6zqVGpi3qDT4TjFRvcnKY2IqTyfnpFRNkIoKYqvyj5foFC51ZMZH27+m1VBaLa6RC7lKAFVNZ8nMWMng9bOteiYIUt7Vd73gkapY13cbNoQWw/vX0xFiWjjiIJdg0c7izj2gaa2yPoKCopYGe+enGxuw7VaMERNX3XnYVfEA7AFP7U4ciI3pN7bSFODfDqevNpPQbps9mVfvk4Iu/Xun62GSYlx6fCIof+mBIcUwKoDNcyPFXYom99xxPQIy7c7E45Zafs1FmElfBB0nAJeyoehlm5rXI3ur+rbg40F/6pLLxBdeoMNBaJfwyePLeQlIssNFA7/hpwcILbhA9Ao2gebEBtOmuh5d6Vbw63LfJF0Fo6G/iBUqPbrASL0wySMtAegZXPKNTYyec1iatgGOF0Ap31WZRMMPPFN4hyK9IqN93ExmhfE2BJ9PGlwF+iRvDQLhI0bKB4GzK7ZKGcwAix2irfG1o/314E/fs6+T/Afu9Wv3/d3usVR5KOYeZJhPCYRy56pGPrwSXGGjAPSB+1rmQh9VfHKzHvJou3YGanJUw+DQlrrs0qqo7DR89rEm/w+m1Ps9koPn4LwYu1SkAmYSSyia2ym2VvDjsUrNPexuVdo8qL6Tje9VU3/CbyAMvK9fyI3t/gfsOmdUgfB9PB8okZJJZeeP2R+0fE2feIEALXiI4W3ckudHQ0azBSokX8xRtTiYdvwJypPMzg4GqQ4uyVOGC15rE3LmuWgFXynxBy3+LPX8VaFeazXqmVTwUj5ZSqHkEFWvW7LA8FUR8Yue/RnsVU8ZniadclDwmAqYxhJ2pSkRaQPb8wzfE25k+tGZ5TlkK9oqz4Yfd8FeClgVNB97wavABCYbISGu2ecsLZlBmD9pNKIvI8MxIEE59VM9+BiFFfdroJVbxF2v9vfOWYdkqqzSQaXhfzxA2wKalybX5Z0hWCB9ONxsOV2lht9u3STRG8anQZL+0lA5E14qI1NL1ttfojqLgJhvzxOAUFdj8GPU9TwM5GsM6ugt8oKZZs4zFeC9YEez00yuG5Gb8D6hQ9Q63j7Y5iY5kLgrw1fpBGoMBHb96MUD8TVQeSaq1hFCWX5auBUZC+06vVb12KBQ2hzv7T/V9XwwMvbW1lHTOfICL5iYwP9Dmv3eaM7Dns63YSogdfxWN18NIspHGBdEzR2quk27h1j8WPOYEPU4IYqh2jvbk8KvUCDP/0+DqpE1E79ybC40yas0MRdATFyXqWArJufaqPblDzaC/rKP7/o8nsyMT2E1slHgXb6Z9WP06G9Xw3TJBwiiRcwZ/VoZgGLauO9BsBNsgS0dz3vk9IE2/6MT"/>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Qgjk50sGUR1BPoUJefjrmZvXTslgZuoHzhAvS/O5+jCQLytyZn7BLGEBIwkT75WwD5kK1SnnWC0/lh/tEb1BQ8tyKn58Y3Gk0TTTw3mDGFfzq+pLYi0HHkILbp3iF/ORMGkUuex6c1szJOL0xvtHziFZNuo6GmALthYnCwmDCdIB6GDWdvkbqbIyqfcvn4mvA28+nx2n1jL5abvdQBpKFwH5nEGSs+N1fu6LFmYGdXpmK46N3PgLK/JW3q+2bUr1D7q3P0bzzSaEhwh/7N2zNNe8rysy5Ia5u6tNX+k2WfSxIY+dioQjDOnzpKqwD4KCWbWLr9Ma/BSZ+FXJyz5pHKqLMz1Q8fZow6pkWrLrU7pgkxObtnBI/ZXrYxVJplAflBm3xLlXzkUSoCwnyM2Goo2HJBqn5BVd7FH/mGSw+NYJpoPm28CcpSUXdRhNhKomii6jO/PNNwpywIf+Z5l61lo/wKFsgdm88oUo9r4PemU5njzkGMVZV+gnvnO89LZ5ys7G6UMNEOC2dJtbMRZ55JP2ybcXvTqJOIJqXGKUd9rdbfVbzfMOchlBZdWbdDJTJ0WDY6LZD4140nezLejY1tmxeWI+0L71s72amLuwppxfMfBtjZftZwJKLpQxgk0Kcyutk6os29pwTyHUai3ZaTtkUEHc6kXN4ciFeIyJAr4ut4IatP64+LgzVYga2JBQhSgUyXJkwkPF1xPPDVn3rE9f/Ayg/Y1HSnQoSlCwb7D89kWUFKOjqNdL0OKXbW+IC2k9sYCQgyLFrMry96EabfPFYegI+bcqeiEUPcOdIPVEJrcVI7bS2jsNfB7yhCkwmR9n5nyac0Kapzzw8P1rIuncLCixl424/JNcSduqNloTX5wwS6+3YmYjXvQBxpGRzc1YKs5YmzkIn0y8U4bMboyVwybabvqsaw8puY8kgyvzCgSRxN51B9Oa4dnDNbB1C1lkY36SRQS62rJI8FZp/nyf7qVtuyMiQux1lSJtunDE7UKr+oGJSXHa87Yeu18epIWOnAScPSpfpwwfWD66Qg2VVtnlbGYPBXICEQwJMSBNjDVushjjN9f7BnD5xtmYGEIKf94+/El2dAYXht0Q2NJtTFC1ve4Stwp07koFX+6HgtPAn22vnti1L6AIUCrsTnAI9iUMD52x5HVTglwu7oUtJSGP+bC+Ravgqas4eLGVLCzv+fTdB12nVmbl/T1w8jSZhBPC9IFGXWodEmxBwZbeLwFu8QazLqCLPXZTQ7lu0OoxdtdxDPPMSLfQBV6u62y+SISPjmLlMtphJziN4niuHbALDtUPSYyLbcx8ZcM5kW4qc9j+EE3N1tGMBFD5vL2Ad5UlvwX5Ejpynm/io/4XHuHjqnSpjT98AdwatcLAIJi01Bc3Q144j6X9SSARFfWaucrciR+gCTHhoap9A7Fp7Bhp/iQ+5fbFmCpzw3dC9bGQREstb1NAanzbtKNYHKEgxoApBixSRwOBbhNO4lswAxma1xsMsBVfUH+pHS2AsAqNCk0+30tJ2T0ZMjH8dm60CTWup30nhUyDXQBy6wMk+EOLen8UmyuhTc4mgfIwig4Ks1UVa5xmNmqTPsYToNSYj0EpYRKKycTHvFyIqhY2iWNDQ6aMxdf8iYqg9V0D03QYHrgtr7iPBIukYrCid0hjsCVtPhgI+trsY4aE5MqOax1njLXaj2dT0wJYrAZGhLRNl5AULesZBYKwhk4Q1b/zWUplrfF48uEj5/6spWnxUow2XTX+6X6/PcijCxExBZpbGr+ZMwk13McxX/DZFil/Di61dtAxocuUqgvmAtcemV5CM8GjZVoJgJa0eKgal3ymqYEg9dvq67T1DQZMapK4p7zx8HBTDFzBjTKUhm4Xg3egWkeMcR481/e5a4VbzJUbA67GW4xAPeDu236pX/9Egorc/uDV7Owp9mtfSBckLEI92qnX4NJYxBQhQv7RBNPAdnii/ITZWOvR0/OC1zL8vNmqcRidTmxlils9wVQwjPd+dz27Ow1pf6yMF992XhaG0hbrXAvmN8j9ONtp+QUJXbvJIx1HkVn29nPoDt+lNTYtS6wTnV4d9P4Dy24kg2x+UTJQMa7G8bZIbVcX8HoHwP+h2dZEj6BiyltW0zQmpe3rKrP1Xljx1RneGdAbdQhdgp4UkpKqis3NRpXIIVMh5NtlGQTT1Da4ApIeQUvS+jKoOg8WsHQ1QoQ0R/1IBpz+RWbiCg6p77bt1X/ocFpdErGsAc3y1PlGowh7EMUqzQb9LhR8GvdUvG3NWoBviFL66x0PD5AjmMNpi+KtIIOxeD+zwGsCAYisFM0Gg+h9jTQ74wEzcCacZSDE/iI8nP4PbFbok/IkQhi3bJPVsTFShZcuL56VU6GQuZKu4k/av9Po8IXFh91L8QZVt0zttXp6OJmKQ494IhhWiCOhOtEBNPVWNNh+9l+PdgKF2lIgERBSxfabD+BlzXVWQ521osieN/XYkMKKr8px8hl0gMLQIdIsNP2gkBt+4T5x1JR+cgvqdC3Hx+K/xLm2OQNpSiXO/b90F6AebX/HjiT0/jFXaMt+wcbgZ8ILea0gt4Du1fbblA1FCptj/VPXrOJ/hEnrJr1sFgbYzLZJEvuV9laWRJD7CnPgdoxi4M62/LFXf1KW2nJvd55t7UQWaZtXUuvpW++n3VHWxbzSTkob+LkMWcaBTdFB4fWguNSFpWZk8gztwC1LoZOl1hmpquUfd1FA5OMjrsVlif2kGgo3su4CQQT+EXeCXsqeBm8qz6+BpE+UAtChZtNAw1GNDh/oUFJNOSZ/DcGGHY74yb+9/ZBnZ3HasrAFIiYk7frhJZWr3zcl81doVAEfgToIbcwIemqOHv0ObXr3PXHdxRB/q0lu8Fqhcajxp0V2xNxU67/YUKARJRdsaQuLkRw7C1zCxfBcouYzpM9nfI76KcEwOTgwfgtI4ZzVbmXBVDxleYK8yVlPnoCJ4reNfKbHomc7D7f/BcFHcGiXWTTvS0YIPHLruaJ1E0pD7QLbsMD18c/vrGGdmNY8Nnhmi/OXa+kPe/1Vd3+AaRHgmPOBkVz3T4ooDPu+3JxCMrueWwYJ0cuzbpiBJqBlgSYrK51vwhw7H//V89QLNAVnxGQQ9Azhidpgpp44ogVxWbHEq+0sR/J1/er+8o8fj7Zz97rnOOy0l9U2zM3JTMFtG0F0mxA6OR7C4sTc3acMa/CTjtNlQopvyMuynetHptOu7ItEfd9UKsgf5t+ON77rtk26pftjNEcGBl4XZmDqaE0vyKzjh/+NMLNdDNkLiXSeqPmR6MxP9OB2SbCxokxqJDRBtqhlLdI8ZctldA+Xq8TWpvPfU7Sa12oPWp4hvGW9SnOxkRnUbnEvw8MvYu8UujfGvuJJ/NQ78fC51b2GgG8XDCvXLBzrBdDszlEC+LcLm1U1azgL1BFBjBzmfY9TvcuepKfi0OfKkkxAws1LR6C5JEkla1fe7uyqgi+sPBpFUgBbwDXYOlSt+RfH+i3khEzkqFFue5i2m/U28/8ouOci4TreESiO7Jr1w6FVn8ND/njg4bEXaFaLgo4f2EHS6qUf6MMsm1mcDs4BBb9Xqd7OEi/ZlxBPCaL7v9rTyfE9/KHOgqK9vdI6u1gW9/sRVJxAnMRFP4JOKAh8igSybjDGTd6X68XPJ5urg89seYOUK+/YmogrMGKN81YWmeOhUEg18Jz7McZZxwqvHpYlzaY+wTjKXGiEXA4vRfQHyCQ5qhZhy28wpAF9DmGcaXa49b17PnLRI24UODr7RuCNU0csd1n8nxwoFmAZbjun+tMnAprDnOtD+EgcYUaymqvckLavffSDSLbN9Swlc9//ufGd2Wsl4W5vnzl1Ho9PbYcuuYz+VAhgq21QqA70oSWkX75Da3zrQ3B8vnfVm0GX/9fUW0Dy6A9AVi8uZu2+yS+GPapdmLkn29nhYMZ2OlzJzEqbPylxfXZvIoM5OFjGuN5M2yaqiXyNK2at73YovPrkYVcLAipol3TJP+2NI08+Uz3LUslYqqEsPpCDXhUl3wLb+mniy05D0mB7GqT1803SiG5eoPwCzdxeXjXE6RRbktzRXz2ictG3F8kfl6zxUIpVNi8TDkVe40qkYdn0H3LvkTbcovvo9BIDG1yM3IIr62QY+YewMLpzIRLeRbnZKdbg/84NHF2yvtN9DPQiSSjREyvZMQmuAEqXCGPg8jMyXz3s33XbreLx0rGtl0xeuNDMNBVTRom2z5kjoVeZKonBNJckihxUdPHEWYN367hh2Wwnm1yKLexEaNLFK6LRoxYxOTx+XS3JmVdsnwrVhPwLF84B0Wk7YwqNPFadKVF+Gze1AhEDHaMwdw1zBFD1IHoYgLS0ZjNghLmR3MZmsd+b5tr7DidDTU7AgpdNisLqcFPOWKWl+zqmEJJQwF6ykAMXyO9UlUJj9s7aRVCiJe1vtqyGV5cfe+812Env6Jl9Sbcn3P0qL4XzXS2dBEG4/wRK1DjsCwgE5g7JMZHnQSMaUGEvF3e0zJXGKye7dXohyS0bTIlXJ6Q6w+51m9hr1fHFqEKMQyo6tWHXRR2KKMOMsDBqehuc4E43u4IhbhR30EbEiTAWZ8X5cStDZy/Z5S3oueSmhs9g0VdalttZ5BZUGiPwBY2zLOwQQUl90G+cCkgHQg++xRekeUmblYFERXeDyGqUwYd8T81qJBQT0WYexYD5RqzRYcarI4nEOmwWRPkKMeGwJwjHmyPGaW12kT7rUObBNe97/gV7IxRBpK5j9+qepRi5+uSZDeeN8ErQ5Q1d7PkvXyVfU3Y4+UYo7XHdAou1UX5KegndkO9XE5oekdAWoXq2uHFaOPQxyzuj3iumAwrtCGi9mAyo6Pj5H9m9GOmTSlIz//APPGrKUbZVUMzUqKXzlqFp3e+gY07sFcbwY+6fEpSeKgnb6Anw60NF4IHppH6LvNpa0onIVuXVh1NLpcdzrtFWJmVJiI7IbxSoW4SEXEetg4qzP1PKsBNdLNb2JjiC0hHozxGvfvYHxl0qQUlpLrEnNdtp6Sabj++nM2M2Ojx5WnbBHjlU7QgASvPetwe404wBPJlY78qXBdENLg8f5+DQuPJBwxSHTSdrLTdWhzqxzIvG12hj7UW66xFkUJ36Ovy72jUq0xarsrcuh2m3bkbnghpdwciIXw+Vl3Ou/TACWbcp0HIkB2z+ojrhNu719eS2akCysyGrgSIPaJqR605ixcxF1CBE10oPwEQ6N6o3oOmg1CME+F5Di9oUrkJ1obDScnsXLsY4AiRYp82umXBa/eDmEuq5gWJ7E/8tddxbwE/mcRcfaljtdO0ClqHmfKk50R2NQMxK1uRfeeQj50jebnnQqE1iP5z9WD+n0pBySMXm+LIPQckcaoQNb5N2uGAYIa6XeVnQf6wruPmA2Ka0eMpMbQ2UecnxeyUxGOvkrKSGrjVwLsdi9taWFvHA2KZdOTGCcnJdfqChEuWVr4M6Kxes6JHrVKbem2J2bKKVnEHD6tedHeyQopEoPS15Stx7htUzWa7CYSd4Bhi2Oe5EDRy5eZ1qKdB6T7xiuhKZsc8K3qHICJKhONJ0eFOjHWKOXEy6fqOZuCFL1CZxaRGobwuk8NOgLgNlrX1CjuzjcwTWY3ic0IAzjddk1rQGAOgypxQrnkkNifZ1F728eTXUmXEuqoRRCSTfH4aNQW24cCbBtJDLZ0zRZ40+stslvuy9lZrWuMglWptj8yky5iRi827xVdbppfjTgNZYeR9DzVR7eyyGh+lJGYU6GN9WjjkA1/ybPB5bZXjQoYRFKatfPoL5pt+1Soxz1T/5H0jpv0SQJWBU0xoSG1wJaaf6xQyRyNRNnHMoc7QRmcgTGKE5jAzqXVwEIxNwSqBZlmAGeJwbxLlhBZCSOp6hM3D5pI9ruc8YV6QEXCTvL/nCozRozz4qqHqnImtfjJGY14YymAalDl+TXvMRup9ATh0CuRkDU4S60BaF8YhSTKPrlTF19iAhZUvc98+jUtoBpp7IV39v1Qq24D1rSkVA/SMt1v2KBKHAGZY2RXPb5aZMGqHs4EudkH8Np972nwDvJdhAKiWy2MreorAt6DC4MrUY1x9AGbokmCp6pa4kwZAoAG1qjrSdOhRk8YwNhAETAKBzhtcwcx41uxOOu9honUm0qAcndIjl1Soo9zaqRLlN7eAU4MwNxtkzmuLDNBVyFv031G23rnD/p31O5oHDusuDqO0nhtQJHRjWrIP2jllt74V9gB7MxbYPNH9p5WREYcxpVXjrQ0IV206GgqoLy4+HGLClZb9aa0OWFtfEL0P/wK6Y/hv4KrK8UcmA3P4jqcc/fBD5hOV6NuM3OVJWXCE7t10JqHZSOiDStZgCd9f7KmFynRKT3Zasq3YVxQsJzqjbgUTBwkWgv67/tPt+QA+aBlvCtgxA9X3SJL9s6Zej4n4qzYi5dXxRIg7KRIBzGKfaO9tse524VMP4lFcR1Y5Gfxn8xypTc1nifrcoS4txLg1v8NiWV2VHruFiIY/gIZX+z9YK+qA2Zbk/Lhpko0GgSd00Cdz+BQSz1xnB5E+s1icrUHwPVSvWsMO3CB9jcYMAv0JDfm+cfHitjEaVsG04qa4ymKpW5RtJ4gytiZw9vkSGO/2YHxlEwTQ+yGIOon6EOPm8dXMHl2oY8zxp9ziurBvooEhIXiYpiVW9BudSU3Iyh0gEw9meeQebko6lG5XNXDvvqe8GhztNBdoIduBKAVmh/+0d06fJpsdSDhEMs0fcNOIKKVEmGdyd4n4zKd/ukj7YK1MDiWcpyPyigsdy7p+N7p4A6EBZ0Iw3L8K6elmLHgTT8CwpBK+25kNSksiEZBKUiSUSpARuP1DXmdPZ2JEyURcTcKzMO0O6zjdajLRuHBNVT67MvKuSUvd95tmC5DV1EIMCcQTPeLNEBySRus1dyAFLRmjNrsoPngIl7VUto08e9aAAsWqW3h2cis6lcQszIkTUA4AVn9wJv3MvQptcclztKolZ4KyfuDPsXvJpc2fnU96STQyqWMtoxFGGx1zicwJrdl6XCi0Rl2DpNfHpGe1ZknaCXkhe0nct+vrIiAYSr0pBKQb+JjJ4jleD2Vnh9RCN3GZ+5cPKto+wUCoSqNaWD8YKdfY36cSi/FWzk4DCxve1Jwz2meWWza0q17tjjqKfecWCFHibU/46EsqJA9qBfhmch1vH+jmm9En/4GDw7nLNZ5JMEbUXX/ltVzT3+3simejnkRplg5k7csMlbWieEC/prZl/HwS4+Y71FWOLOr+6GZ9EJ0sjhdYxNpkTKJrUuGDFsq0tw6tmwI+Sr5H/gm0t6XrcIyb7R54jj7VP70uNFjk2A1ONCHdavbxGf2HpxawoUf2EffNWT3lrR7IiPdYxneoV2c5E5ZBf/pZDhEOtpgYlWIxWvtcYr9lPI/pJxE9Xtn8fE1Tk0jNZ7CAa9DdCWInVAdx2UM0o7FghqjqmJ1/9XddZwE9QTuv1G3iqgrT+LeVynbM+UWdw3UKB7nhTzE4rZo/z0BP8LLGazXZM1KE7OEba+AvqFUoCSt0PSDzquPyGenli2rBejm4m/6LkRMgJnZSKKkV9xOymNMaXEgEO3ARfW6CZmZ4jw0VDhG5YcBNse1y/piwuysLkKNfve+l3PlFzPeJuk4NOFRVu2L1KPA7FA2c6hfjahWuY/pSuX3UoPhhYHVarU8qd8fOUbcLD6O4GIRMGDi/+iX91pAIyX2H1KeQJDgeX2gM6enpSR2QW0Y31j2bOC0mbr4lguKThHLr3Dgc3N5pVDJnPmyErQ4mHzOvVrLZUeUTIytBV7ZyOskgOUA8GXmRTNOn2dhjMXtaVhAkKXbUtdwluSEb+iZNvl+W9a8rc58j0HO9hWG5zNPEp4D71c38egW6txWwVzu1W595RDIrDkwdvCG0B2HufXlrVPw9LjeBGfs+kDygliz+MEDLslaX8reoBBdGPxpxRx0u+BBwk3oiBPjKR4Mgao99kjH9bTEzOPA91OAU7SwOLHFM7kXgt0F1ZNrCOeslRbPRs74/PHh90PdPx5aYsGJXgjDm5ZYWa37dirwQxSHIbAzrkN15j/dPL5uKAs65Wv3n0bG/svuVoqp6hJXt09t2x1YCz2IcbgV6UOPJ4cJKszXPTDa9Vg5MJxF6PI35mZQWm4x4UITcknjwXkN2QcJHZVkAhzm4tDc/LpNgMSJA3T6WdiovPrgdDlc0HswIpsRRpbEmHwSh7CuKJIazHX95uoS05a4dk/JUew0qFu0WSEIS6mKwyeWn284DV8kD8/Cfx0zGXHk73CH14EbrytTikYmqkSZ6vji8VHrvK2t5Nq1Eae2xTNsld8N2IrFKjt557CBMTjmfUlY3mQ1BMZta5EabgYe7iYionFd3h5zn+AmgUzJYc+uXljMIPh/uhT3BVwnH2wdIph7oViKHRMPIa3Alk1G3gIaHs6O8MoTtcMoT2vnVfWYP/JAY0AjVyf79ikau0CQJs1/oHLlT20QHYkWJeNmJd/ryYwvbDt+Tywsw3UiShcxVzscfh1VcQA1YfPvDhW7pxoiYBcIhM/umPVv9CmK4Jl/xrmAoweA0n2+8i7n/dfmWSVZ/7ugzGQLwR0JrBNpzFu3Mt7uP5Ytv1M1ryh2pAAGyz/XlAys+aF9NwDtM1uEcJS5ys941qfdS334A0I3xzAGmsjVGe0IC4eiZVJ+wHA8bR6cjiJL6YaqQwSJz3QnuZ4cdbdBcOD27GtnfYj0AoFNmlhdDZ/1fwYd5Kz2VHOLTMjNhKAgGo5cufKvdtelib8nVp6FezPZ8abd8eWsfdlsc4EvQ+aYKhKHdS974yiH7regu7AtWsKukHWzqzBDSDbtoK2trxh2eTuu0xEWSPKA+2HNzlOZrYUeot6KliQ1KYNzs6mneHXbNG18p869xTGkjuRTKllkMB4xj0L1wMnyyQRn6idvnSSLaW9Ec9lK4byxIR2ju8PmfKQg7i4ZtOPsMX+Aj8db0fvdwWHhSjEdx/D1JWC5OPHQh2uoZZVEGgxOz7owQ0c8YLDyjW4B5SjmoQJj+gu7nNNpyX4cokSZhokWLzFCDyXIYeD/CL3Hiyw6nnSDfKayXU8beJYTF25GXzKThudpZ1c4NNusm6zTgvnXoZXB2MUsZhLU1e6QBEoYl9FirijfInJYWl8Vnc4tTU8nUFeCvqlxJXIvIMOY/WE88aFUWSAWNEgq6cs/uv1NA6k5JgtaXVl8CywcVv8OgvJ6i1x5HonIaZq4QwE4xaHHUXCmDJLZJ5pBP1G4wBniJbagmwQYLu10BoeOi2GWW6NfwF/t5F8N/6dOKVIg6LC+0AA7jdfIVAIpn4SPCv1cwaKAuhUOGuy6dDN6wmF+nXOhBrfbNO3y6L/ptUwFnbqh4iC9/FMat3cPXgHv0XRnpvIRozl+1McQ099ddBLzBdwV0rqk4qn+xuGWLjnttQgoI9aIfK3AZWp6MCdjaa6twdNqQ9iSMSv8lLuHLJMba0GEOw+oh0ZhfBEnMIugGiOu8NEUWmdhJrusOELVvfbGJfCMAzGYD1w5MuzYx6/CbUUXempoDoaTLE1VctWV1OAzxmOG1i51qcQ8WF1auQ34qW8UBfHlhajHTXDwp5hPOMfZG+6Y7alOx2nJBMtyYosHLsprfDOcRpzI6MprphISf1qiLyVevgpcpLTinLLlRzckQCjGnNR2gKfEIyJKPpogO+hZ7dMGW7DR70JwprZaOQSR1/Jkn5EYnd6WgPqeBKdJiLh8DIMC8YN84Am61BaorGP8e2DTyRuHvrhFk4UTspetbvD4yUpvZIxynQttA2w15l4lLW2Zmc8A9mOpvDd41xetQ/e4f0B78Y2keCBxspRksnaDxD+Sxh8ESbs2stvMZGrQj8SlshcvPIyBO1OranPGZQNrs27KW3TZuJOTsQVOUk8D9SZKh3rd5bnLQVsOsxB1k/7opt6uk1GA4mZe+Pu6wxbc8WKm+sKVr0wqt39/OqTP7na8WKqeAurVjOlmWsqU8FPc2yA3pRVfPM/JabhXjnl2TnrVq6KJhTlYd6rPD5AUloyNuYWpxvObS+NqEs7RtIGLLLYkUyXpIroj/LQzR1y4cDmvamRMTxm7kveL1GPbOlK1rLXp5zB8ugX3f6fE2xQ8mggW3hzn32XDgbtRki9yut8kQd5VywsiRfvMIePWIT7b7uwVr40+I4YFeL3o189olgw5Ro32jsIfqdktiWhWRXxgmWajXP8AkkLYB5cn8F4nI8ZYV98X2zjrFe9bbAbpMKJuq7aYzoGPbrVbO9dt+wrpZU4c7gEnyBl1sTuE/UrnzpAcbaHmNXnL6NXydoKs44guf3kCBp82b3CKCL0QNyGMobGm5xHuafTmk/sIllYKW5cxE071Hn2vbi0DrolmYNpiWu2MyzooVXgXCDdQfX+OO8LynHHcsLIfaAjTFtrF69HRZY6JhH4uf1LjXq/MIiAJkhEMvJD591/pkpTImVAVeuxGPuRzpLQVbOLIDvU/GqSjH8FPbx+vkT8U0cwYsuE/lwO1Qg1hQHWMwB59l2uVfD0ov+AAUFdA6G5BMWsGEzAmMqdj8YgE/cAtpu5XBY3dBnFkuXACB9yK38x2JkTY40GEbr1i8HwpuPPSrPQS5CNDL1yrmqZeHMPzE1xOZA8cNOzQeYzWqah652mHeMsyev02M3oao2GFOkqILGQH/+cLaF8a5De9nmFAKh/lvY/M7dEvrH4HakDkqP7H9WbeO477yKNpOA58vIEXKJ02bmGTG3QhzXjjJXviJ9sDCeLtKP8K/LuyoVPWuUmKJKo6sP6l67vwNI+lHmAlsI6l/UJcgnq1D1PhxlO/fd/Is3JIZT+uBfpItJLYQfPc/dx1mHDRh3VovztDzv7CXUEOBBP3RSHIcbQv+SVSKpv6mDA+/L3Xtcga6SGSd20SFfsUkUohC6ZWVLxQx5NBMw71ieBv3WnUUS1owT669JLSXvCKd3sdiXDak+351lrEfzmdvS7o/1OLVjZCq3DlGS4c5BHmy6+J7rlCAjYTlogAqthlaTzFldZDF3CshHRk8uyvzCAhg/lbG4lL5Wy7oGozcfn3QacdXaiE/yXN3ajSUknUlG947NnpaxoOQTPbNT8Tnj4xy/Z4jjTZsvanLSnuI3pw8YWEsTqivHDVqKDAeEwt0CD3ycIHlTUsO9jaiJJQAsXqmYlbDF2n4AaVYMQ878DKlCGW/ySGnhUZHgWY7dvk5yOOcZA0qWi6YsmbzkbRQbCtKxVQPj4HvplwgdmBZoOpd+aqpxkXBLXkiCAVLvyHJcEyIEijhnm76hsfkoqLNWH+Y6wOV1JJf55IJH+7+T+BTz3SAvcth3NgIUpA6QrAyB39TSzxtKuz9Ajl3n9nRF+3e1sEwAH17S+zCdbg9pxPb14t5ES3d2P19ZHRIxnh3XXfi9v2UidKnkKOgvR9G50LKX+iR1pX5gdOlLBt2zHhpQBeQyrlmp+H8YRtVN2Ed8dQKOhit7MmpNdHDAZkghk41ipwXMyf2c/tYGg3SR/DShsnmJP722eo+F1Zpe9A+tIf8YAXV3ZymJDRzmgA2mDiI3fbKP1KMHkfYocV1duMkvvrtgbG6qtIx3tFbha/c0rmjsyugNlZxexmytKDCsAwCU75UqDTxgUMmlGxtCicxiJm/RL70oBEi1M8kPX9vtYbEFW+CS9EQ1mCPbLKcUmwbwb3kL4qKRuDMULEZyOyB9TFYqeCsgO34KgAmq0fzyfOx/dbz5VjPJvIZ74M3r9tKvCJRKvKlkkCLo1SjdEkfyKGA2I5K9kshZWBjnbyCyvC69K0VOq2JXsjPEBdQT31xnwb4udwmeWMmPXxt1a8iksHLklUAJ6gGVC+iyAw1BgMvYgLwPeFQknJLfTFTA3RlAegDXj3zO/+t/ssnTgXXbRPVqHPaPJUpjsjNVX55jI8ztEdi23TdwsIHl9pMrk1D8chuUMcv804eY02hDL/O0StEoZwF6S/0sHH+6fr8qkGevhIR3cTB7rny8n3JX/9zSS4/PNctITmy03oFvbLvpfDTCnaD8BcKwjCCyRiD/GSKfaSBMTVhDyr0nBKPh5wzqIJFuXDxNboCrcjWiXua9wSid/vxTU4AJt6OL5q9at5z2lSNpyTjdUycnMCYqACt0Q+CUxwc8BnEHgo5q06A8oR3X39ngk48TZTDDeiHHK2fH6MIWnne3eIJZNJw+wtdpW2xK7f141tNb2WHk31EdxTpaI5OWKHn9UntJXXwB3LeWrEMyiQOQzGyb7O8LtdTubGxHR0YzMeIKuaT9oYpBdQ3u5MU1cW6pR0EEUzd3K6apSW8ovSXI8iix2Xhx5uqnToWF7Jf2x4zMkt1eCJir1XHrjeoUsIYBtjmFa8na8ixkt0yfy+VN6+Eoj6YafCnK/fK2aguEqBX0OqUP08MWH2aUJhvlwf1M6VGvYXdRETHFXev+7jxSl690xZW8ojkvBKXWFb0SmYuBKdZhoL7jYKy5YLExlJWhTCZ9Ppfffce7LJgoC0qYH3NoVK8SZBFCeisL+NnT9Qv/dxdnmrH37FuXRXPUwTzz9lNB7uxNv1QKdLz/0UvSkQSgi/5tBwLTFWb/5Z1QzBXmIsUFf6UdiT+qe//c+xlhEKTTyoH58zeRhY2xAzx0F229sOhkkGxv49uf6umvPId4aNQfJmTGHC6qmomVLPWvGgnxXydTnwGkgQdjAiQ8A+o3wuh7EZRmEnOgVuvMN3JG0FBBQXkkNRdyurafVn2qb93doESzSoxT552lN8XqKe+ktY4MQUgqTRHO93V2Fj9WJot6Gvj5k6uCjw08PoOqwCtivMJAYpV0xEC2A6+iMr2fHMa9ZokktrIsc8jICg2ioZXCpbkCgT0OsAzRFofi2iYcLhpU9a7mNzY4+SzdfeiRbwbXiTKLDRpA5kG8lMcvUVaP0H+PMtEBPPymrrR8ve0gYxa3q9lPSOxO10O8X2ECgYaKIfwSB8RrXePoXL2m8433zrn4+g4TkeqrHBY+pL4RN3oRo7QE4cmLMyBgXVKRbhor/fhBBNwPBDUJUegXzy1IDcPzOl4yFJ3wAmZ26mOfmuySGYZj4BQko/J1mYhd4qW4hJ3Y5Bty713adTgf3tf7SpWnkRLYRM9fB7zHeJPn2h/LT7YAgTOCCooNewDk5hLQ+/j8YYf3UbmutXE0mLacjviJSPoPK9+vqLM0cSD+y5KSd+KoxvtwnHhTnlCfhX7tZITCXYFFaSJmZLcoS1ETN04zukUHJWzGQdqdJ+uF5Khi6hqqSzV+nWqOhpPt89vCtyofh3zVNVBNre5SWzEUmNBWVyfKFg50jMrzM7BEr/Q+11YrDNc66K1/3tPoeM1HBU2ScFh+jk7ta3FfZRFSOW4aA9kOWNx7C04hGur+ZLCzLgIxihCFHrUrMKBHV0moPAFTEOAgQKZdqd+XoqkyDW/EEdFcVKwwSxCyKW6243dStRAubd5ZbyOGA895sOxZxX5BlRTz1B9HhgUF+tgsZHzcaOzmq43ElsEt0cAocjfCLJkEsLciJfujVUZ/FjWiN9d470rtKQY00wBqo6NXJW3etUE+UaiqhYqwcqQf9NjBqEL3y0YG6rzcGLzJgo+coUe+kgiPv/rtPOk2gUJOOQe9nzMSYkoiQAvE2bUatgtcxnIS7+nQG9EO2YPUrQ5kocc6gqIznqKkR41HXCSPdH426ZoFsG5UJKP2lCsGRYuOTXrWvGocg7Wgvr6fndTefV/lUbbUbo5wbdmjsAi9GHVsf2iuLTuFK4NznBBrU1gr9hJLPSsfj/WsFPV+H0zqmYntJuHwC/I1aen55G7XLCw5FbBFwkV8eaCPgboiUy7MvcGoNTfLPjCfQ6u/JKsLT9jfiiXE0gFFfDTSf/9nxRQC3d/m7HcRVPoBhXvmNEwo7W3to5m1Fmeb2lcvF17QfeTVUWuGc1aWGuwf20iG32WYOXMtsvtHbRyv8qYx3T03/MCYoWeYPKwCBjh0W8CWiX1M7JdBCaKZ0ZOeR8nWeOZ/aAX6EB0AKPwZM36ZmDiONHNdR0KAklKSq/geuJyd1V5zs/MwqXNfj18rJLusD9lJ4KZBHr/plcJ+FLDGFo4/evBinl4UVLpxXdg/QO5rxrIxppgyRrq6SK44wXxvu/yLc4a/CxSmFH42cUYrxmXOg/WodZf8NymDEOWNE29JDaBpeUXfzptNDoydHxqv1y808VyRaqWaubiikB5iXQkm7q0cmyloGsL8LHu9mtTcUAZTPI0p317P31vEKXbxKhZ3LrQMX42VB1i371kP91kczNx5DFNNG09NQpZnFLkbWw4pKmbz0FNiOTwSiR6GNchd8lo/CJPGaIpJF4cSy4qoJZzlP32oipeiPUAZ6bKsLT284tWRH9BGNVsoL9nZ+mtDCL/H/GB2d6K1JERBqbpiPRqQsuwJWPILHCT3GpKk9BIFIovsSI3paxajvhFysGHgYayUD5wk7o7j/amiMaLJZL1n9MA5EISyGrt26hSGfgAL7q4kRyX6ThMwM3UNZK1NlkMI+GmmMuhmEM0DX8tAaGTJQg+LyQHnMjcPf0mDNfaw8PWHQLOvBCm42GWp069RUMUpxbOIJuGUq1vzq6y3uyvuO8snTuhAGUcmOq9nS7ybWzL/N0QDeDqhmaQrhaWcg8KYmgWJndr83JuLq3k4Q7iXuz0UWpBDP6h8F2psFi/QZwIhEiaCMrQ0mPZcCx11dhnE3Ynds8IP2/BogSK687GWGfuFgjl9HSPuoD53uJUyFdaI/NTYWpjzIMLlCgwRJ3wT0HZ+zTjV5vNTRWnZy29rtmpoQeZL95p3tzqMlwbo4e9+vXmFRmGoQ7urswGBXqE/+JJzpsCZ3veHmRhvfKBwNSiKb04Jpou3SyPcm3HZThXoKEzfJNV2Y5yu60ViimpyODt98Ou0S+gdwHD5noHuKa0U/KkBCA29wY8dZO4cY6N/oHxyBkSNWRnOS9KShn2oe6QvFVJyNp3m/iNLmPhTgaK/F0YIYRnQjLNKuHTcBDHsNcfjJQakwy/yHyfrvQiDAgfklcvaD6r6zCZJ0dzPKsLZhbd3FU3I2uzwXbKQ7Mjlvjci0qOXOMtJanuvymF8emMUKL9AtWPSHrHy4XUS9ideMWUBqrJ/B1P1qscCxsrH+QlEHcuek5E2lTbvBFIwboBMLtNV9A896TZSoy1byw2NHddOKW4j1SGneY7XUkfedviHPBqA3e14r0X4QzUlCpwodVJKGcRn+PUImYl1ieVAWO+GHJs/XPMswcrdjjxcYMEbQHM5k0PoSdw2JZ8IW8O3RDl0laSfUDY58b2uZoxNqVsLsMKViQ2FadCmyCq8buLAyJJuNKmAGDZHnrFMRIOAsj4A9t8zmsKs3eGN/VtXaguwNtzWFe+EGjI2s6Kzs5doyvNchgyFk80HOPWHiZ7mD41lwL+7169FYHp9RmgK1zbojGkY0iB/tb9eiPvJYylNvMAunycTT4vmh3gp10kO2Tu42rQKMM3rMOPfqXEwICl96ZUbZRJj0LyMB/uW3NpZ6q/KJoVLnXuIvsfbMJqXX9OHt+AHhwDQKf3yK1rTKW6pgc+F3DyzMp5i2CNS3PvX4CGVaU7LShHHmCMoXx5oBHhb96KJIFWUR8ndAhVNvDhP/xUCcqgEKHSUQVhy/N2VdkUoByZ12+cPipt3B3ZTMMpQMlHbxPIU+e5UkilZd+lEZo7I4h6+5pcjE0pAMXKAjlcGxka8z5CN6trTw0Cllw27z3/KMDlvG+nbQvwkb4VACSzCGqRK3CxqcA1MWK02swqC+jvlKX0Hg6g0Ry39qwN4A6Mh7pbXiHYgN2l/4WIxPCjrhocGp20HJCsGfBIbzVhEQ7crvsNPTPyAtf/Ldzc+2Bysy0tJC/CCU2k+sF1pqOCzUQWrmIBAYah+lQlSPXtaxM7OUEcDve1MINb5vmxS/5W9Pp19O3g2/0xdt9iTvTb2LVW92YHcHNbnzs2Ek1hN+iBbYOVThpc6WFmiWNKeRHiIadbEge0mAxIDOIfteNOU/cFi7gmDq6DQY9myvOd+Ty/7Pn3+WQ9vs0SXHqn2lus5Lw7HiAHIAxB7wGtw9LSS+Uvh5Plv7gXoS8kPEtosy4PqX5peWDqKTW0CcgGK86Gu8W3iaWguTMkbIPp+GZmk5ZUoJsGpKJ2qTRzsurXYvwI/vft7PDTDM4dtd247t+1/r5P3wnJq1mJ95VauV5796STkQW/w5ooqHXuBxhfe9OuU1Xeo50i4maAFcsJObsM1UUdXVwzhXkurm17bLlSOgSybnCZXsHMlk8KIdGiuH3sddrFB6B9hFZWIA8ecOBDrs4JSpWua0ZS6KF5P0+JuCEQXOaEEtRzbfAfquLNmHeRXlhljsJ/sLbwCa3ZPDaJgdKbfLReaqB5gCOqWpKkdJt0XakTDNpLXDWKXzdrK1+ezlXsOEQqXwjZq98klnSyguJeyhv/a1PfB5eZ3LDWxBT9fLB1DCUfvfu+bQk9n0Oq7XWZ1D/W8OWQw8Pcyx0bfrztX+EJabn6L1f7jcrmtvwlJagLBCWRQi9Gf9QKN6NOjWhuFEOAw34pHj9b/YBvz20pHVi0xThL/iCf/E4bhEy5q5bV9Pv8WJ1IxFXGxim8ET8VNrgEma+jffgbKjoY0RXRuhv8Ypkijw2habm4yxqvR6dodnniq2+cskHY3B0BhzA1UrKMgAfVCLCSIP2gZtu9M3GSi7eidmwQsOyCwZv/jmtWyJhIcM"/>
  <p:tag name="MEKKOXMLTAGS"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pothecary">
  <a:themeElements>
    <a:clrScheme name="Custom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76923C"/>
      </a:hlink>
      <a:folHlink>
        <a:srgbClr val="C3D69B"/>
      </a:folHlink>
    </a:clrScheme>
    <a:fontScheme name="Apothecary">
      <a:majorFont>
        <a:latin typeface="Book Antiqua"/>
        <a:ea typeface=""/>
        <a:cs typeface=""/>
        <a:font script="Jpan" typeface="HGS明朝B"/>
        <a:font script="Hang" typeface="HY견명조"/>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견명조"/>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pothecary">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3000"/>
            <a:satMod val="140000"/>
          </a:schemeClr>
        </a:solidFill>
        <a:blipFill rotWithShape="1">
          <a:blip xmlns:r="http://schemas.openxmlformats.org/officeDocument/2006/relationships" r:embed="rId1">
            <a:duotone>
              <a:schemeClr val="phClr">
                <a:tint val="70000"/>
                <a:satMod val="170000"/>
              </a:schemeClr>
              <a:schemeClr val="phClr">
                <a:shade val="70000"/>
                <a:satMod val="13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othecary</Template>
  <TotalTime>374</TotalTime>
  <Words>915</Words>
  <Application>Microsoft Office PowerPoint</Application>
  <PresentationFormat>On-screen Show (4:3)</PresentationFormat>
  <Paragraphs>204</Paragraphs>
  <Slides>35</Slides>
  <Notes>15</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5</vt:i4>
      </vt:variant>
    </vt:vector>
  </HeadingPairs>
  <TitlesOfParts>
    <vt:vector size="46" baseType="lpstr">
      <vt:lpstr>MS PGothic</vt:lpstr>
      <vt:lpstr>Arial</vt:lpstr>
      <vt:lpstr>Book Antiqua</vt:lpstr>
      <vt:lpstr>Calibri</vt:lpstr>
      <vt:lpstr>Century Gothic</vt:lpstr>
      <vt:lpstr>Palatino Linotype</vt:lpstr>
      <vt:lpstr>Roboto</vt:lpstr>
      <vt:lpstr>Times New Roman</vt:lpstr>
      <vt:lpstr>Verdana</vt:lpstr>
      <vt:lpstr>Wingdings</vt:lpstr>
      <vt:lpstr>Apothecary</vt:lpstr>
      <vt:lpstr>Gender one health and infectious disease management</vt:lpstr>
      <vt:lpstr>Building bridges</vt:lpstr>
      <vt:lpstr> We need an integrated approach?</vt:lpstr>
      <vt:lpstr>Emerging infectious diseases</vt:lpstr>
      <vt:lpstr>Emerging Diseases                         Not just humans….</vt:lpstr>
      <vt:lpstr>Shrinking habitats</vt:lpstr>
      <vt:lpstr>Pollution</vt:lpstr>
      <vt:lpstr>Loss of biodiversity</vt:lpstr>
      <vt:lpstr>Climate change: changes in environment and Land use</vt:lpstr>
      <vt:lpstr>Globalization and travel</vt:lpstr>
      <vt:lpstr>Global trade of wildlife</vt:lpstr>
      <vt:lpstr>Bio-Terrorism as part of the threat</vt:lpstr>
      <vt:lpstr>Human behavior</vt:lpstr>
      <vt:lpstr>PowerPoint Presentation</vt:lpstr>
      <vt:lpstr>PowerPoint Presentation</vt:lpstr>
      <vt:lpstr>Why?</vt:lpstr>
      <vt:lpstr>PowerPoint Presentation</vt:lpstr>
      <vt:lpstr>One Health</vt:lpstr>
      <vt:lpstr>PowerPoint Presentation</vt:lpstr>
      <vt:lpstr>PowerPoint Presentation</vt:lpstr>
      <vt:lpstr>One health</vt:lpstr>
      <vt:lpstr>Scope of one health</vt:lpstr>
      <vt:lpstr>Animal science, human health, and environmental science are at the core of One Health </vt:lpstr>
      <vt:lpstr>There is a need for interdisciplinary training as only about 50% of human clinicians surveyed interacted with an animal or environmental professional</vt:lpstr>
      <vt:lpstr>One Health</vt:lpstr>
      <vt:lpstr>Principles of one health</vt:lpstr>
      <vt:lpstr>Major challenges</vt:lpstr>
      <vt:lpstr>Barriers</vt:lpstr>
      <vt:lpstr>PowerPoint Presentation</vt:lpstr>
      <vt:lpstr>Unequal human resource capacity … … lack of front line responders from all health professions</vt:lpstr>
      <vt:lpstr>Leveling interdisciplinary understanding</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ving from Professional-Directed to Patient-Centered Behavior Change</dc:title>
  <dc:creator>Kimberly Kennedy</dc:creator>
  <cp:lastModifiedBy>Sarah Mirembe</cp:lastModifiedBy>
  <cp:revision>43</cp:revision>
  <dcterms:created xsi:type="dcterms:W3CDTF">2013-09-10T04:44:55Z</dcterms:created>
  <dcterms:modified xsi:type="dcterms:W3CDTF">2019-11-22T11:57:36Z</dcterms:modified>
</cp:coreProperties>
</file>